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5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2.5968596173074704E-2"/>
          <c:w val="1"/>
          <c:h val="0.9705656153080431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0A7-49E5-A6F4-56DB23F52B2A}"/>
              </c:ext>
            </c:extLst>
          </c:dPt>
          <c:dPt>
            <c:idx val="1"/>
            <c:bubble3D val="0"/>
            <c:explosion val="1"/>
            <c:spPr>
              <a:solidFill>
                <a:schemeClr val="accent2"/>
              </a:solidFill>
              <a:ln w="1905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0A7-49E5-A6F4-56DB23F52B2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0A7-49E5-A6F4-56DB23F52B2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0A7-49E5-A6F4-56DB23F52B2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0A7-49E5-A6F4-56DB23F52B2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3300000000000002</c:v>
                </c:pt>
                <c:pt idx="1">
                  <c:v>0.33300000000000002</c:v>
                </c:pt>
                <c:pt idx="2">
                  <c:v>0.333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0A7-49E5-A6F4-56DB23F52B2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6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aseline="0"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3B5124-5646-54C6-DE35-5EAF2723F2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D9CCF0D-5EB8-1EAA-E0B1-D8D4BCB61A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9CCF0D-5EB8-1EAA-E0B1-D8D4BCB61A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F82BAD-C380-9871-0AD3-6D98AE4B6B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oughnu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FCE1ACA-2B37-0449-EB5F-76DB93C22E8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Google Shape;1513;p21">
            <a:extLst>
              <a:ext uri="{FF2B5EF4-FFF2-40B4-BE49-F238E27FC236}">
                <a16:creationId xmlns:a16="http://schemas.microsoft.com/office/drawing/2014/main" id="{EACA3A77-EA50-F451-C1F9-5C688B043825}"/>
              </a:ext>
            </a:extLst>
          </p:cNvPr>
          <p:cNvGraphicFramePr/>
          <p:nvPr/>
        </p:nvGraphicFramePr>
        <p:xfrm>
          <a:off x="1044402" y="1717677"/>
          <a:ext cx="3346243" cy="35526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Google Shape;1496;p36">
            <a:extLst>
              <a:ext uri="{FF2B5EF4-FFF2-40B4-BE49-F238E27FC236}">
                <a16:creationId xmlns:a16="http://schemas.microsoft.com/office/drawing/2014/main" id="{1535DF5B-548F-2D8D-CDEF-9F491BB203F3}"/>
              </a:ext>
            </a:extLst>
          </p:cNvPr>
          <p:cNvSpPr/>
          <p:nvPr/>
        </p:nvSpPr>
        <p:spPr>
          <a:xfrm rot="5400000">
            <a:off x="8240700" y="-758865"/>
            <a:ext cx="1333881" cy="521985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8752" tIns="88752" rIns="88752" bIns="88752" anchor="ctr" anchorCtr="0">
            <a:noAutofit/>
          </a:bodyPr>
          <a:lstStyle/>
          <a:p>
            <a:endParaRPr sz="1553" dirty="0"/>
          </a:p>
        </p:txBody>
      </p:sp>
      <p:sp>
        <p:nvSpPr>
          <p:cNvPr id="6" name="Shape0_20220502_104935">
            <a:extLst>
              <a:ext uri="{FF2B5EF4-FFF2-40B4-BE49-F238E27FC236}">
                <a16:creationId xmlns:a16="http://schemas.microsoft.com/office/drawing/2014/main" id="{E67CA5C5-ECE5-5304-D8DF-33FFFCE1B455}"/>
              </a:ext>
            </a:extLst>
          </p:cNvPr>
          <p:cNvSpPr txBox="1"/>
          <p:nvPr/>
        </p:nvSpPr>
        <p:spPr>
          <a:xfrm>
            <a:off x="6364666" y="1688006"/>
            <a:ext cx="4392087" cy="326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37" dirty="0">
                <a:solidFill>
                  <a:schemeClr val="bg1"/>
                </a:solidFill>
              </a:rPr>
              <a:t>Insert Text Here</a:t>
            </a:r>
            <a:endParaRPr sz="1537" dirty="0">
              <a:solidFill>
                <a:schemeClr val="bg1"/>
              </a:solidFill>
            </a:endParaRPr>
          </a:p>
        </p:txBody>
      </p:sp>
      <p:sp>
        <p:nvSpPr>
          <p:cNvPr id="7" name="Google Shape;1498;p36">
            <a:extLst>
              <a:ext uri="{FF2B5EF4-FFF2-40B4-BE49-F238E27FC236}">
                <a16:creationId xmlns:a16="http://schemas.microsoft.com/office/drawing/2014/main" id="{CB1D3601-0C99-13CF-94A5-B9035B955F1E}"/>
              </a:ext>
            </a:extLst>
          </p:cNvPr>
          <p:cNvSpPr/>
          <p:nvPr/>
        </p:nvSpPr>
        <p:spPr>
          <a:xfrm rot="5400000">
            <a:off x="8240700" y="868607"/>
            <a:ext cx="1333881" cy="521985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88752" tIns="88752" rIns="88752" bIns="88752" anchor="ctr" anchorCtr="0">
            <a:noAutofit/>
          </a:bodyPr>
          <a:lstStyle/>
          <a:p>
            <a:endParaRPr sz="1553" dirty="0"/>
          </a:p>
        </p:txBody>
      </p:sp>
      <p:sp>
        <p:nvSpPr>
          <p:cNvPr id="8" name="Shape1_20220502_104935">
            <a:extLst>
              <a:ext uri="{FF2B5EF4-FFF2-40B4-BE49-F238E27FC236}">
                <a16:creationId xmlns:a16="http://schemas.microsoft.com/office/drawing/2014/main" id="{7A194269-8937-DB58-7A59-C458C707C78C}"/>
              </a:ext>
            </a:extLst>
          </p:cNvPr>
          <p:cNvSpPr txBox="1"/>
          <p:nvPr/>
        </p:nvSpPr>
        <p:spPr>
          <a:xfrm>
            <a:off x="6364666" y="3315482"/>
            <a:ext cx="4392087" cy="326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37" dirty="0">
                <a:solidFill>
                  <a:schemeClr val="bg1"/>
                </a:solidFill>
              </a:rPr>
              <a:t>Insert Text Here</a:t>
            </a:r>
            <a:endParaRPr sz="1537" dirty="0">
              <a:solidFill>
                <a:schemeClr val="bg1"/>
              </a:solidFill>
            </a:endParaRPr>
          </a:p>
        </p:txBody>
      </p:sp>
      <p:sp>
        <p:nvSpPr>
          <p:cNvPr id="9" name="Google Shape;1500;p36">
            <a:extLst>
              <a:ext uri="{FF2B5EF4-FFF2-40B4-BE49-F238E27FC236}">
                <a16:creationId xmlns:a16="http://schemas.microsoft.com/office/drawing/2014/main" id="{28556D13-4E51-B6CA-3BE7-2593ABEA94AA}"/>
              </a:ext>
            </a:extLst>
          </p:cNvPr>
          <p:cNvSpPr/>
          <p:nvPr/>
        </p:nvSpPr>
        <p:spPr>
          <a:xfrm rot="5400000">
            <a:off x="8240700" y="2496078"/>
            <a:ext cx="1333881" cy="521985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88752" tIns="88752" rIns="88752" bIns="88752" anchor="ctr" anchorCtr="0">
            <a:noAutofit/>
          </a:bodyPr>
          <a:lstStyle/>
          <a:p>
            <a:endParaRPr sz="1553" dirty="0"/>
          </a:p>
        </p:txBody>
      </p:sp>
      <p:sp>
        <p:nvSpPr>
          <p:cNvPr id="10" name="Shape2_20220502_104935">
            <a:extLst>
              <a:ext uri="{FF2B5EF4-FFF2-40B4-BE49-F238E27FC236}">
                <a16:creationId xmlns:a16="http://schemas.microsoft.com/office/drawing/2014/main" id="{780A1EA7-1174-5270-20B0-869A737B0BD4}"/>
              </a:ext>
            </a:extLst>
          </p:cNvPr>
          <p:cNvSpPr txBox="1"/>
          <p:nvPr/>
        </p:nvSpPr>
        <p:spPr>
          <a:xfrm>
            <a:off x="6364666" y="4942922"/>
            <a:ext cx="4392087" cy="326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37" dirty="0">
                <a:solidFill>
                  <a:schemeClr val="bg1"/>
                </a:solidFill>
              </a:rPr>
              <a:t>Insert Text Here</a:t>
            </a:r>
            <a:endParaRPr sz="1537" dirty="0">
              <a:solidFill>
                <a:schemeClr val="bg1"/>
              </a:solidFill>
            </a:endParaRPr>
          </a:p>
        </p:txBody>
      </p:sp>
      <p:sp>
        <p:nvSpPr>
          <p:cNvPr id="11" name="Shape0_20210628_180235">
            <a:extLst>
              <a:ext uri="{FF2B5EF4-FFF2-40B4-BE49-F238E27FC236}">
                <a16:creationId xmlns:a16="http://schemas.microsoft.com/office/drawing/2014/main" id="{52FFC48A-A8EC-6478-31CA-925553A7F061}"/>
              </a:ext>
            </a:extLst>
          </p:cNvPr>
          <p:cNvSpPr/>
          <p:nvPr/>
        </p:nvSpPr>
        <p:spPr>
          <a:xfrm>
            <a:off x="10602108" y="1504432"/>
            <a:ext cx="693257" cy="6932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algn="ctr"/>
            <a:endParaRPr sz="1553" dirty="0">
              <a:solidFill>
                <a:schemeClr val="lt1"/>
              </a:solidFill>
            </a:endParaRPr>
          </a:p>
        </p:txBody>
      </p:sp>
      <p:sp>
        <p:nvSpPr>
          <p:cNvPr id="12" name="Shape1_20210628_180235">
            <a:extLst>
              <a:ext uri="{FF2B5EF4-FFF2-40B4-BE49-F238E27FC236}">
                <a16:creationId xmlns:a16="http://schemas.microsoft.com/office/drawing/2014/main" id="{59C68593-EEC5-4BF5-A77F-D948971790A3}"/>
              </a:ext>
            </a:extLst>
          </p:cNvPr>
          <p:cNvSpPr/>
          <p:nvPr/>
        </p:nvSpPr>
        <p:spPr>
          <a:xfrm>
            <a:off x="10602108" y="4759377"/>
            <a:ext cx="693257" cy="6932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algn="ctr"/>
            <a:endParaRPr sz="1553" dirty="0">
              <a:solidFill>
                <a:schemeClr val="lt1"/>
              </a:solidFill>
            </a:endParaRPr>
          </a:p>
        </p:txBody>
      </p:sp>
      <p:sp>
        <p:nvSpPr>
          <p:cNvPr id="13" name="Shape2_20210628_180235">
            <a:extLst>
              <a:ext uri="{FF2B5EF4-FFF2-40B4-BE49-F238E27FC236}">
                <a16:creationId xmlns:a16="http://schemas.microsoft.com/office/drawing/2014/main" id="{BBA4A6DB-8F38-5244-3C09-9A13A8EB5850}"/>
              </a:ext>
            </a:extLst>
          </p:cNvPr>
          <p:cNvSpPr/>
          <p:nvPr/>
        </p:nvSpPr>
        <p:spPr>
          <a:xfrm>
            <a:off x="10602108" y="3131904"/>
            <a:ext cx="693257" cy="6932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algn="ctr"/>
            <a:endParaRPr sz="1553" dirty="0">
              <a:solidFill>
                <a:schemeClr val="lt1"/>
              </a:solidFill>
            </a:endParaRPr>
          </a:p>
        </p:txBody>
      </p:sp>
      <p:sp>
        <p:nvSpPr>
          <p:cNvPr id="14" name="Freeform 884">
            <a:extLst>
              <a:ext uri="{FF2B5EF4-FFF2-40B4-BE49-F238E27FC236}">
                <a16:creationId xmlns:a16="http://schemas.microsoft.com/office/drawing/2014/main" id="{058B1767-34B2-3DEF-0906-2D518BA1832E}"/>
              </a:ext>
            </a:extLst>
          </p:cNvPr>
          <p:cNvSpPr>
            <a:spLocks noEditPoints="1"/>
          </p:cNvSpPr>
          <p:nvPr/>
        </p:nvSpPr>
        <p:spPr bwMode="auto">
          <a:xfrm>
            <a:off x="10749862" y="3322383"/>
            <a:ext cx="397736" cy="268104"/>
          </a:xfrm>
          <a:custGeom>
            <a:avLst/>
            <a:gdLst>
              <a:gd name="T0" fmla="*/ 387 w 413"/>
              <a:gd name="T1" fmla="*/ 279 h 279"/>
              <a:gd name="T2" fmla="*/ 27 w 413"/>
              <a:gd name="T3" fmla="*/ 279 h 279"/>
              <a:gd name="T4" fmla="*/ 0 w 413"/>
              <a:gd name="T5" fmla="*/ 252 h 279"/>
              <a:gd name="T6" fmla="*/ 0 w 413"/>
              <a:gd name="T7" fmla="*/ 27 h 279"/>
              <a:gd name="T8" fmla="*/ 27 w 413"/>
              <a:gd name="T9" fmla="*/ 0 h 279"/>
              <a:gd name="T10" fmla="*/ 387 w 413"/>
              <a:gd name="T11" fmla="*/ 0 h 279"/>
              <a:gd name="T12" fmla="*/ 413 w 413"/>
              <a:gd name="T13" fmla="*/ 27 h 279"/>
              <a:gd name="T14" fmla="*/ 413 w 413"/>
              <a:gd name="T15" fmla="*/ 252 h 279"/>
              <a:gd name="T16" fmla="*/ 387 w 413"/>
              <a:gd name="T17" fmla="*/ 279 h 279"/>
              <a:gd name="T18" fmla="*/ 27 w 413"/>
              <a:gd name="T19" fmla="*/ 11 h 279"/>
              <a:gd name="T20" fmla="*/ 11 w 413"/>
              <a:gd name="T21" fmla="*/ 27 h 279"/>
              <a:gd name="T22" fmla="*/ 11 w 413"/>
              <a:gd name="T23" fmla="*/ 252 h 279"/>
              <a:gd name="T24" fmla="*/ 27 w 413"/>
              <a:gd name="T25" fmla="*/ 268 h 279"/>
              <a:gd name="T26" fmla="*/ 387 w 413"/>
              <a:gd name="T27" fmla="*/ 268 h 279"/>
              <a:gd name="T28" fmla="*/ 402 w 413"/>
              <a:gd name="T29" fmla="*/ 252 h 279"/>
              <a:gd name="T30" fmla="*/ 402 w 413"/>
              <a:gd name="T31" fmla="*/ 27 h 279"/>
              <a:gd name="T32" fmla="*/ 387 w 413"/>
              <a:gd name="T33" fmla="*/ 11 h 279"/>
              <a:gd name="T34" fmla="*/ 27 w 413"/>
              <a:gd name="T35" fmla="*/ 11 h 2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13" h="279">
                <a:moveTo>
                  <a:pt x="387" y="279"/>
                </a:moveTo>
                <a:cubicBezTo>
                  <a:pt x="27" y="279"/>
                  <a:pt x="27" y="279"/>
                  <a:pt x="27" y="279"/>
                </a:cubicBezTo>
                <a:cubicBezTo>
                  <a:pt x="12" y="279"/>
                  <a:pt x="0" y="267"/>
                  <a:pt x="0" y="252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387" y="0"/>
                  <a:pt x="387" y="0"/>
                  <a:pt x="387" y="0"/>
                </a:cubicBezTo>
                <a:cubicBezTo>
                  <a:pt x="401" y="0"/>
                  <a:pt x="413" y="12"/>
                  <a:pt x="413" y="27"/>
                </a:cubicBezTo>
                <a:cubicBezTo>
                  <a:pt x="413" y="252"/>
                  <a:pt x="413" y="252"/>
                  <a:pt x="413" y="252"/>
                </a:cubicBezTo>
                <a:cubicBezTo>
                  <a:pt x="413" y="267"/>
                  <a:pt x="401" y="279"/>
                  <a:pt x="387" y="279"/>
                </a:cubicBezTo>
                <a:close/>
                <a:moveTo>
                  <a:pt x="27" y="11"/>
                </a:moveTo>
                <a:cubicBezTo>
                  <a:pt x="18" y="11"/>
                  <a:pt x="11" y="18"/>
                  <a:pt x="11" y="27"/>
                </a:cubicBezTo>
                <a:cubicBezTo>
                  <a:pt x="11" y="252"/>
                  <a:pt x="11" y="252"/>
                  <a:pt x="11" y="252"/>
                </a:cubicBezTo>
                <a:cubicBezTo>
                  <a:pt x="11" y="261"/>
                  <a:pt x="18" y="268"/>
                  <a:pt x="27" y="268"/>
                </a:cubicBezTo>
                <a:cubicBezTo>
                  <a:pt x="387" y="268"/>
                  <a:pt x="387" y="268"/>
                  <a:pt x="387" y="268"/>
                </a:cubicBezTo>
                <a:cubicBezTo>
                  <a:pt x="395" y="268"/>
                  <a:pt x="402" y="261"/>
                  <a:pt x="402" y="252"/>
                </a:cubicBezTo>
                <a:cubicBezTo>
                  <a:pt x="402" y="27"/>
                  <a:pt x="402" y="27"/>
                  <a:pt x="402" y="27"/>
                </a:cubicBezTo>
                <a:cubicBezTo>
                  <a:pt x="402" y="18"/>
                  <a:pt x="395" y="11"/>
                  <a:pt x="387" y="11"/>
                </a:cubicBezTo>
                <a:lnTo>
                  <a:pt x="27" y="1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5" name="Freeform 885">
            <a:extLst>
              <a:ext uri="{FF2B5EF4-FFF2-40B4-BE49-F238E27FC236}">
                <a16:creationId xmlns:a16="http://schemas.microsoft.com/office/drawing/2014/main" id="{C2E076C1-E9AD-2798-5999-D0DE3C1F0A91}"/>
              </a:ext>
            </a:extLst>
          </p:cNvPr>
          <p:cNvSpPr>
            <a:spLocks noEditPoints="1"/>
          </p:cNvSpPr>
          <p:nvPr/>
        </p:nvSpPr>
        <p:spPr bwMode="auto">
          <a:xfrm>
            <a:off x="10919270" y="3580177"/>
            <a:ext cx="61872" cy="54506"/>
          </a:xfrm>
          <a:custGeom>
            <a:avLst/>
            <a:gdLst>
              <a:gd name="T0" fmla="*/ 58 w 64"/>
              <a:gd name="T1" fmla="*/ 57 h 57"/>
              <a:gd name="T2" fmla="*/ 5 w 64"/>
              <a:gd name="T3" fmla="*/ 57 h 57"/>
              <a:gd name="T4" fmla="*/ 0 w 64"/>
              <a:gd name="T5" fmla="*/ 51 h 57"/>
              <a:gd name="T6" fmla="*/ 0 w 64"/>
              <a:gd name="T7" fmla="*/ 5 h 57"/>
              <a:gd name="T8" fmla="*/ 5 w 64"/>
              <a:gd name="T9" fmla="*/ 0 h 57"/>
              <a:gd name="T10" fmla="*/ 58 w 64"/>
              <a:gd name="T11" fmla="*/ 0 h 57"/>
              <a:gd name="T12" fmla="*/ 64 w 64"/>
              <a:gd name="T13" fmla="*/ 5 h 57"/>
              <a:gd name="T14" fmla="*/ 64 w 64"/>
              <a:gd name="T15" fmla="*/ 51 h 57"/>
              <a:gd name="T16" fmla="*/ 58 w 64"/>
              <a:gd name="T17" fmla="*/ 57 h 57"/>
              <a:gd name="T18" fmla="*/ 11 w 64"/>
              <a:gd name="T19" fmla="*/ 46 h 57"/>
              <a:gd name="T20" fmla="*/ 53 w 64"/>
              <a:gd name="T21" fmla="*/ 46 h 57"/>
              <a:gd name="T22" fmla="*/ 53 w 64"/>
              <a:gd name="T23" fmla="*/ 11 h 57"/>
              <a:gd name="T24" fmla="*/ 11 w 64"/>
              <a:gd name="T25" fmla="*/ 11 h 57"/>
              <a:gd name="T26" fmla="*/ 11 w 64"/>
              <a:gd name="T27" fmla="*/ 46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" h="57">
                <a:moveTo>
                  <a:pt x="58" y="57"/>
                </a:moveTo>
                <a:cubicBezTo>
                  <a:pt x="5" y="57"/>
                  <a:pt x="5" y="57"/>
                  <a:pt x="5" y="57"/>
                </a:cubicBezTo>
                <a:cubicBezTo>
                  <a:pt x="2" y="57"/>
                  <a:pt x="0" y="54"/>
                  <a:pt x="0" y="51"/>
                </a:cubicBezTo>
                <a:cubicBezTo>
                  <a:pt x="0" y="5"/>
                  <a:pt x="0" y="5"/>
                  <a:pt x="0" y="5"/>
                </a:cubicBezTo>
                <a:cubicBezTo>
                  <a:pt x="0" y="2"/>
                  <a:pt x="2" y="0"/>
                  <a:pt x="5" y="0"/>
                </a:cubicBezTo>
                <a:cubicBezTo>
                  <a:pt x="58" y="0"/>
                  <a:pt x="58" y="0"/>
                  <a:pt x="58" y="0"/>
                </a:cubicBezTo>
                <a:cubicBezTo>
                  <a:pt x="61" y="0"/>
                  <a:pt x="64" y="2"/>
                  <a:pt x="64" y="5"/>
                </a:cubicBezTo>
                <a:cubicBezTo>
                  <a:pt x="64" y="51"/>
                  <a:pt x="64" y="51"/>
                  <a:pt x="64" y="51"/>
                </a:cubicBezTo>
                <a:cubicBezTo>
                  <a:pt x="64" y="54"/>
                  <a:pt x="61" y="57"/>
                  <a:pt x="58" y="57"/>
                </a:cubicBezTo>
                <a:close/>
                <a:moveTo>
                  <a:pt x="11" y="46"/>
                </a:moveTo>
                <a:cubicBezTo>
                  <a:pt x="53" y="46"/>
                  <a:pt x="53" y="46"/>
                  <a:pt x="53" y="46"/>
                </a:cubicBezTo>
                <a:cubicBezTo>
                  <a:pt x="53" y="11"/>
                  <a:pt x="53" y="11"/>
                  <a:pt x="53" y="11"/>
                </a:cubicBezTo>
                <a:cubicBezTo>
                  <a:pt x="11" y="11"/>
                  <a:pt x="11" y="11"/>
                  <a:pt x="11" y="11"/>
                </a:cubicBezTo>
                <a:lnTo>
                  <a:pt x="11" y="4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6" name="Freeform 886">
            <a:extLst>
              <a:ext uri="{FF2B5EF4-FFF2-40B4-BE49-F238E27FC236}">
                <a16:creationId xmlns:a16="http://schemas.microsoft.com/office/drawing/2014/main" id="{7CC64E4C-4F8A-D146-A2E0-72F244D573B8}"/>
              </a:ext>
            </a:extLst>
          </p:cNvPr>
          <p:cNvSpPr>
            <a:spLocks/>
          </p:cNvSpPr>
          <p:nvPr/>
        </p:nvSpPr>
        <p:spPr bwMode="auto">
          <a:xfrm>
            <a:off x="10749862" y="3533042"/>
            <a:ext cx="397736" cy="10313"/>
          </a:xfrm>
          <a:custGeom>
            <a:avLst/>
            <a:gdLst>
              <a:gd name="T0" fmla="*/ 408 w 413"/>
              <a:gd name="T1" fmla="*/ 11 h 11"/>
              <a:gd name="T2" fmla="*/ 6 w 413"/>
              <a:gd name="T3" fmla="*/ 11 h 11"/>
              <a:gd name="T4" fmla="*/ 0 w 413"/>
              <a:gd name="T5" fmla="*/ 6 h 11"/>
              <a:gd name="T6" fmla="*/ 6 w 413"/>
              <a:gd name="T7" fmla="*/ 0 h 11"/>
              <a:gd name="T8" fmla="*/ 408 w 413"/>
              <a:gd name="T9" fmla="*/ 0 h 11"/>
              <a:gd name="T10" fmla="*/ 413 w 413"/>
              <a:gd name="T11" fmla="*/ 6 h 11"/>
              <a:gd name="T12" fmla="*/ 408 w 413"/>
              <a:gd name="T13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3" h="11">
                <a:moveTo>
                  <a:pt x="408" y="11"/>
                </a:moveTo>
                <a:cubicBezTo>
                  <a:pt x="6" y="11"/>
                  <a:pt x="6" y="11"/>
                  <a:pt x="6" y="11"/>
                </a:cubicBezTo>
                <a:cubicBezTo>
                  <a:pt x="3" y="11"/>
                  <a:pt x="0" y="9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408" y="0"/>
                  <a:pt x="408" y="0"/>
                  <a:pt x="408" y="0"/>
                </a:cubicBezTo>
                <a:cubicBezTo>
                  <a:pt x="411" y="0"/>
                  <a:pt x="413" y="3"/>
                  <a:pt x="413" y="6"/>
                </a:cubicBezTo>
                <a:cubicBezTo>
                  <a:pt x="413" y="9"/>
                  <a:pt x="411" y="11"/>
                  <a:pt x="408" y="1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7" name="Freeform 887">
            <a:extLst>
              <a:ext uri="{FF2B5EF4-FFF2-40B4-BE49-F238E27FC236}">
                <a16:creationId xmlns:a16="http://schemas.microsoft.com/office/drawing/2014/main" id="{844C5113-2DB8-3AA2-AE25-900CC1FB11FA}"/>
              </a:ext>
            </a:extLst>
          </p:cNvPr>
          <p:cNvSpPr>
            <a:spLocks/>
          </p:cNvSpPr>
          <p:nvPr/>
        </p:nvSpPr>
        <p:spPr bwMode="auto">
          <a:xfrm>
            <a:off x="10879499" y="3624373"/>
            <a:ext cx="139946" cy="10313"/>
          </a:xfrm>
          <a:custGeom>
            <a:avLst/>
            <a:gdLst>
              <a:gd name="T0" fmla="*/ 140 w 145"/>
              <a:gd name="T1" fmla="*/ 11 h 11"/>
              <a:gd name="T2" fmla="*/ 6 w 145"/>
              <a:gd name="T3" fmla="*/ 11 h 11"/>
              <a:gd name="T4" fmla="*/ 0 w 145"/>
              <a:gd name="T5" fmla="*/ 5 h 11"/>
              <a:gd name="T6" fmla="*/ 6 w 145"/>
              <a:gd name="T7" fmla="*/ 0 h 11"/>
              <a:gd name="T8" fmla="*/ 140 w 145"/>
              <a:gd name="T9" fmla="*/ 0 h 11"/>
              <a:gd name="T10" fmla="*/ 145 w 145"/>
              <a:gd name="T11" fmla="*/ 5 h 11"/>
              <a:gd name="T12" fmla="*/ 140 w 145"/>
              <a:gd name="T13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5" h="11">
                <a:moveTo>
                  <a:pt x="140" y="11"/>
                </a:moveTo>
                <a:cubicBezTo>
                  <a:pt x="6" y="11"/>
                  <a:pt x="6" y="11"/>
                  <a:pt x="6" y="11"/>
                </a:cubicBezTo>
                <a:cubicBezTo>
                  <a:pt x="3" y="11"/>
                  <a:pt x="0" y="8"/>
                  <a:pt x="0" y="5"/>
                </a:cubicBezTo>
                <a:cubicBezTo>
                  <a:pt x="0" y="2"/>
                  <a:pt x="3" y="0"/>
                  <a:pt x="6" y="0"/>
                </a:cubicBezTo>
                <a:cubicBezTo>
                  <a:pt x="140" y="0"/>
                  <a:pt x="140" y="0"/>
                  <a:pt x="140" y="0"/>
                </a:cubicBezTo>
                <a:cubicBezTo>
                  <a:pt x="143" y="0"/>
                  <a:pt x="145" y="2"/>
                  <a:pt x="145" y="5"/>
                </a:cubicBezTo>
                <a:cubicBezTo>
                  <a:pt x="145" y="8"/>
                  <a:pt x="143" y="11"/>
                  <a:pt x="140" y="1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8" name="Freeform 888">
            <a:extLst>
              <a:ext uri="{FF2B5EF4-FFF2-40B4-BE49-F238E27FC236}">
                <a16:creationId xmlns:a16="http://schemas.microsoft.com/office/drawing/2014/main" id="{78208758-11CB-6D2C-14AE-6E548ACABA25}"/>
              </a:ext>
            </a:extLst>
          </p:cNvPr>
          <p:cNvSpPr>
            <a:spLocks/>
          </p:cNvSpPr>
          <p:nvPr/>
        </p:nvSpPr>
        <p:spPr bwMode="auto">
          <a:xfrm>
            <a:off x="10978192" y="3394569"/>
            <a:ext cx="73656" cy="78077"/>
          </a:xfrm>
          <a:custGeom>
            <a:avLst/>
            <a:gdLst>
              <a:gd name="T0" fmla="*/ 6 w 77"/>
              <a:gd name="T1" fmla="*/ 81 h 81"/>
              <a:gd name="T2" fmla="*/ 2 w 77"/>
              <a:gd name="T3" fmla="*/ 79 h 81"/>
              <a:gd name="T4" fmla="*/ 2 w 77"/>
              <a:gd name="T5" fmla="*/ 71 h 81"/>
              <a:gd name="T6" fmla="*/ 66 w 77"/>
              <a:gd name="T7" fmla="*/ 3 h 81"/>
              <a:gd name="T8" fmla="*/ 74 w 77"/>
              <a:gd name="T9" fmla="*/ 2 h 81"/>
              <a:gd name="T10" fmla="*/ 74 w 77"/>
              <a:gd name="T11" fmla="*/ 10 h 81"/>
              <a:gd name="T12" fmla="*/ 10 w 77"/>
              <a:gd name="T13" fmla="*/ 79 h 81"/>
              <a:gd name="T14" fmla="*/ 6 w 77"/>
              <a:gd name="T15" fmla="*/ 81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7" h="81">
                <a:moveTo>
                  <a:pt x="6" y="81"/>
                </a:moveTo>
                <a:cubicBezTo>
                  <a:pt x="5" y="81"/>
                  <a:pt x="3" y="80"/>
                  <a:pt x="2" y="79"/>
                </a:cubicBezTo>
                <a:cubicBezTo>
                  <a:pt x="0" y="77"/>
                  <a:pt x="0" y="74"/>
                  <a:pt x="2" y="71"/>
                </a:cubicBezTo>
                <a:cubicBezTo>
                  <a:pt x="66" y="3"/>
                  <a:pt x="66" y="3"/>
                  <a:pt x="66" y="3"/>
                </a:cubicBezTo>
                <a:cubicBezTo>
                  <a:pt x="68" y="0"/>
                  <a:pt x="72" y="0"/>
                  <a:pt x="74" y="2"/>
                </a:cubicBezTo>
                <a:cubicBezTo>
                  <a:pt x="76" y="5"/>
                  <a:pt x="77" y="8"/>
                  <a:pt x="74" y="10"/>
                </a:cubicBezTo>
                <a:cubicBezTo>
                  <a:pt x="10" y="79"/>
                  <a:pt x="10" y="79"/>
                  <a:pt x="10" y="79"/>
                </a:cubicBezTo>
                <a:cubicBezTo>
                  <a:pt x="9" y="80"/>
                  <a:pt x="7" y="81"/>
                  <a:pt x="6" y="8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9" name="Freeform 889">
            <a:extLst>
              <a:ext uri="{FF2B5EF4-FFF2-40B4-BE49-F238E27FC236}">
                <a16:creationId xmlns:a16="http://schemas.microsoft.com/office/drawing/2014/main" id="{E95BBC89-0539-636D-64A7-C556B7A3C9D1}"/>
              </a:ext>
            </a:extLst>
          </p:cNvPr>
          <p:cNvSpPr>
            <a:spLocks/>
          </p:cNvSpPr>
          <p:nvPr/>
        </p:nvSpPr>
        <p:spPr bwMode="auto">
          <a:xfrm>
            <a:off x="10889810" y="3429924"/>
            <a:ext cx="76602" cy="45666"/>
          </a:xfrm>
          <a:custGeom>
            <a:avLst/>
            <a:gdLst>
              <a:gd name="T0" fmla="*/ 74 w 81"/>
              <a:gd name="T1" fmla="*/ 48 h 48"/>
              <a:gd name="T2" fmla="*/ 72 w 81"/>
              <a:gd name="T3" fmla="*/ 48 h 48"/>
              <a:gd name="T4" fmla="*/ 4 w 81"/>
              <a:gd name="T5" fmla="*/ 11 h 48"/>
              <a:gd name="T6" fmla="*/ 2 w 81"/>
              <a:gd name="T7" fmla="*/ 4 h 48"/>
              <a:gd name="T8" fmla="*/ 9 w 81"/>
              <a:gd name="T9" fmla="*/ 1 h 48"/>
              <a:gd name="T10" fmla="*/ 77 w 81"/>
              <a:gd name="T11" fmla="*/ 38 h 48"/>
              <a:gd name="T12" fmla="*/ 79 w 81"/>
              <a:gd name="T13" fmla="*/ 46 h 48"/>
              <a:gd name="T14" fmla="*/ 74 w 81"/>
              <a:gd name="T15" fmla="*/ 4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1" h="48">
                <a:moveTo>
                  <a:pt x="74" y="48"/>
                </a:moveTo>
                <a:cubicBezTo>
                  <a:pt x="74" y="48"/>
                  <a:pt x="73" y="48"/>
                  <a:pt x="72" y="48"/>
                </a:cubicBezTo>
                <a:cubicBezTo>
                  <a:pt x="4" y="11"/>
                  <a:pt x="4" y="11"/>
                  <a:pt x="4" y="11"/>
                </a:cubicBezTo>
                <a:cubicBezTo>
                  <a:pt x="1" y="10"/>
                  <a:pt x="0" y="6"/>
                  <a:pt x="2" y="4"/>
                </a:cubicBezTo>
                <a:cubicBezTo>
                  <a:pt x="3" y="1"/>
                  <a:pt x="6" y="0"/>
                  <a:pt x="9" y="1"/>
                </a:cubicBezTo>
                <a:cubicBezTo>
                  <a:pt x="77" y="38"/>
                  <a:pt x="77" y="38"/>
                  <a:pt x="77" y="38"/>
                </a:cubicBezTo>
                <a:cubicBezTo>
                  <a:pt x="80" y="40"/>
                  <a:pt x="81" y="43"/>
                  <a:pt x="79" y="46"/>
                </a:cubicBezTo>
                <a:cubicBezTo>
                  <a:pt x="78" y="47"/>
                  <a:pt x="76" y="48"/>
                  <a:pt x="74" y="4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0" name="Freeform 890">
            <a:extLst>
              <a:ext uri="{FF2B5EF4-FFF2-40B4-BE49-F238E27FC236}">
                <a16:creationId xmlns:a16="http://schemas.microsoft.com/office/drawing/2014/main" id="{A3FB255B-537F-D115-D1A6-487422505174}"/>
              </a:ext>
            </a:extLst>
          </p:cNvPr>
          <p:cNvSpPr>
            <a:spLocks/>
          </p:cNvSpPr>
          <p:nvPr/>
        </p:nvSpPr>
        <p:spPr bwMode="auto">
          <a:xfrm>
            <a:off x="10835304" y="3434339"/>
            <a:ext cx="45666" cy="53033"/>
          </a:xfrm>
          <a:custGeom>
            <a:avLst/>
            <a:gdLst>
              <a:gd name="T0" fmla="*/ 6 w 47"/>
              <a:gd name="T1" fmla="*/ 55 h 55"/>
              <a:gd name="T2" fmla="*/ 3 w 47"/>
              <a:gd name="T3" fmla="*/ 54 h 55"/>
              <a:gd name="T4" fmla="*/ 2 w 47"/>
              <a:gd name="T5" fmla="*/ 46 h 55"/>
              <a:gd name="T6" fmla="*/ 37 w 47"/>
              <a:gd name="T7" fmla="*/ 3 h 55"/>
              <a:gd name="T8" fmla="*/ 44 w 47"/>
              <a:gd name="T9" fmla="*/ 2 h 55"/>
              <a:gd name="T10" fmla="*/ 45 w 47"/>
              <a:gd name="T11" fmla="*/ 9 h 55"/>
              <a:gd name="T12" fmla="*/ 11 w 47"/>
              <a:gd name="T13" fmla="*/ 53 h 55"/>
              <a:gd name="T14" fmla="*/ 6 w 47"/>
              <a:gd name="T15" fmla="*/ 55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7" h="55">
                <a:moveTo>
                  <a:pt x="6" y="55"/>
                </a:moveTo>
                <a:cubicBezTo>
                  <a:pt x="5" y="55"/>
                  <a:pt x="4" y="55"/>
                  <a:pt x="3" y="54"/>
                </a:cubicBezTo>
                <a:cubicBezTo>
                  <a:pt x="1" y="52"/>
                  <a:pt x="0" y="48"/>
                  <a:pt x="2" y="46"/>
                </a:cubicBezTo>
                <a:cubicBezTo>
                  <a:pt x="37" y="3"/>
                  <a:pt x="37" y="3"/>
                  <a:pt x="37" y="3"/>
                </a:cubicBezTo>
                <a:cubicBezTo>
                  <a:pt x="38" y="0"/>
                  <a:pt x="42" y="0"/>
                  <a:pt x="44" y="2"/>
                </a:cubicBezTo>
                <a:cubicBezTo>
                  <a:pt x="47" y="4"/>
                  <a:pt x="47" y="7"/>
                  <a:pt x="45" y="9"/>
                </a:cubicBezTo>
                <a:cubicBezTo>
                  <a:pt x="11" y="53"/>
                  <a:pt x="11" y="53"/>
                  <a:pt x="11" y="53"/>
                </a:cubicBezTo>
                <a:cubicBezTo>
                  <a:pt x="10" y="54"/>
                  <a:pt x="8" y="55"/>
                  <a:pt x="6" y="5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1" name="Freeform 891">
            <a:extLst>
              <a:ext uri="{FF2B5EF4-FFF2-40B4-BE49-F238E27FC236}">
                <a16:creationId xmlns:a16="http://schemas.microsoft.com/office/drawing/2014/main" id="{B331066C-9FBE-0090-C266-80CD976829E4}"/>
              </a:ext>
            </a:extLst>
          </p:cNvPr>
          <p:cNvSpPr>
            <a:spLocks noEditPoints="1"/>
          </p:cNvSpPr>
          <p:nvPr/>
        </p:nvSpPr>
        <p:spPr bwMode="auto">
          <a:xfrm>
            <a:off x="10813209" y="3475588"/>
            <a:ext cx="36828" cy="36828"/>
          </a:xfrm>
          <a:custGeom>
            <a:avLst/>
            <a:gdLst>
              <a:gd name="T0" fmla="*/ 20 w 39"/>
              <a:gd name="T1" fmla="*/ 39 h 39"/>
              <a:gd name="T2" fmla="*/ 19 w 39"/>
              <a:gd name="T3" fmla="*/ 39 h 39"/>
              <a:gd name="T4" fmla="*/ 5 w 39"/>
              <a:gd name="T5" fmla="*/ 33 h 39"/>
              <a:gd name="T6" fmla="*/ 0 w 39"/>
              <a:gd name="T7" fmla="*/ 19 h 39"/>
              <a:gd name="T8" fmla="*/ 7 w 39"/>
              <a:gd name="T9" fmla="*/ 6 h 39"/>
              <a:gd name="T10" fmla="*/ 20 w 39"/>
              <a:gd name="T11" fmla="*/ 1 h 39"/>
              <a:gd name="T12" fmla="*/ 34 w 39"/>
              <a:gd name="T13" fmla="*/ 7 h 39"/>
              <a:gd name="T14" fmla="*/ 39 w 39"/>
              <a:gd name="T15" fmla="*/ 21 h 39"/>
              <a:gd name="T16" fmla="*/ 39 w 39"/>
              <a:gd name="T17" fmla="*/ 21 h 39"/>
              <a:gd name="T18" fmla="*/ 20 w 39"/>
              <a:gd name="T19" fmla="*/ 39 h 39"/>
              <a:gd name="T20" fmla="*/ 20 w 39"/>
              <a:gd name="T21" fmla="*/ 12 h 39"/>
              <a:gd name="T22" fmla="*/ 14 w 39"/>
              <a:gd name="T23" fmla="*/ 14 h 39"/>
              <a:gd name="T24" fmla="*/ 11 w 39"/>
              <a:gd name="T25" fmla="*/ 19 h 39"/>
              <a:gd name="T26" fmla="*/ 14 w 39"/>
              <a:gd name="T27" fmla="*/ 25 h 39"/>
              <a:gd name="T28" fmla="*/ 19 w 39"/>
              <a:gd name="T29" fmla="*/ 28 h 39"/>
              <a:gd name="T30" fmla="*/ 28 w 39"/>
              <a:gd name="T31" fmla="*/ 20 h 39"/>
              <a:gd name="T32" fmla="*/ 28 w 39"/>
              <a:gd name="T33" fmla="*/ 20 h 39"/>
              <a:gd name="T34" fmla="*/ 26 w 39"/>
              <a:gd name="T35" fmla="*/ 14 h 39"/>
              <a:gd name="T36" fmla="*/ 20 w 39"/>
              <a:gd name="T37" fmla="*/ 12 h 39"/>
              <a:gd name="T38" fmla="*/ 20 w 39"/>
              <a:gd name="T39" fmla="*/ 12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9" h="39">
                <a:moveTo>
                  <a:pt x="20" y="39"/>
                </a:moveTo>
                <a:cubicBezTo>
                  <a:pt x="19" y="39"/>
                  <a:pt x="19" y="39"/>
                  <a:pt x="19" y="39"/>
                </a:cubicBezTo>
                <a:cubicBezTo>
                  <a:pt x="14" y="39"/>
                  <a:pt x="9" y="36"/>
                  <a:pt x="5" y="33"/>
                </a:cubicBezTo>
                <a:cubicBezTo>
                  <a:pt x="2" y="29"/>
                  <a:pt x="0" y="24"/>
                  <a:pt x="0" y="19"/>
                </a:cubicBezTo>
                <a:cubicBezTo>
                  <a:pt x="1" y="14"/>
                  <a:pt x="3" y="9"/>
                  <a:pt x="7" y="6"/>
                </a:cubicBezTo>
                <a:cubicBezTo>
                  <a:pt x="10" y="2"/>
                  <a:pt x="15" y="0"/>
                  <a:pt x="20" y="1"/>
                </a:cubicBezTo>
                <a:cubicBezTo>
                  <a:pt x="26" y="1"/>
                  <a:pt x="30" y="3"/>
                  <a:pt x="34" y="7"/>
                </a:cubicBezTo>
                <a:cubicBezTo>
                  <a:pt x="37" y="11"/>
                  <a:pt x="39" y="15"/>
                  <a:pt x="39" y="21"/>
                </a:cubicBezTo>
                <a:cubicBezTo>
                  <a:pt x="39" y="21"/>
                  <a:pt x="39" y="21"/>
                  <a:pt x="39" y="21"/>
                </a:cubicBezTo>
                <a:cubicBezTo>
                  <a:pt x="38" y="31"/>
                  <a:pt x="30" y="39"/>
                  <a:pt x="20" y="39"/>
                </a:cubicBezTo>
                <a:close/>
                <a:moveTo>
                  <a:pt x="20" y="12"/>
                </a:moveTo>
                <a:cubicBezTo>
                  <a:pt x="18" y="12"/>
                  <a:pt x="16" y="12"/>
                  <a:pt x="14" y="14"/>
                </a:cubicBezTo>
                <a:cubicBezTo>
                  <a:pt x="12" y="15"/>
                  <a:pt x="11" y="17"/>
                  <a:pt x="11" y="19"/>
                </a:cubicBezTo>
                <a:cubicBezTo>
                  <a:pt x="11" y="22"/>
                  <a:pt x="12" y="24"/>
                  <a:pt x="14" y="25"/>
                </a:cubicBezTo>
                <a:cubicBezTo>
                  <a:pt x="15" y="27"/>
                  <a:pt x="17" y="28"/>
                  <a:pt x="19" y="28"/>
                </a:cubicBezTo>
                <a:cubicBezTo>
                  <a:pt x="24" y="28"/>
                  <a:pt x="28" y="25"/>
                  <a:pt x="28" y="20"/>
                </a:cubicBezTo>
                <a:cubicBezTo>
                  <a:pt x="28" y="20"/>
                  <a:pt x="28" y="20"/>
                  <a:pt x="28" y="20"/>
                </a:cubicBezTo>
                <a:cubicBezTo>
                  <a:pt x="28" y="18"/>
                  <a:pt x="27" y="16"/>
                  <a:pt x="26" y="14"/>
                </a:cubicBezTo>
                <a:cubicBezTo>
                  <a:pt x="24" y="13"/>
                  <a:pt x="22" y="12"/>
                  <a:pt x="20" y="12"/>
                </a:cubicBezTo>
                <a:cubicBezTo>
                  <a:pt x="20" y="12"/>
                  <a:pt x="20" y="12"/>
                  <a:pt x="20" y="1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2" name="Freeform 892">
            <a:extLst>
              <a:ext uri="{FF2B5EF4-FFF2-40B4-BE49-F238E27FC236}">
                <a16:creationId xmlns:a16="http://schemas.microsoft.com/office/drawing/2014/main" id="{0E78B512-19FC-C737-7A90-D0EFD6016AD2}"/>
              </a:ext>
            </a:extLst>
          </p:cNvPr>
          <p:cNvSpPr>
            <a:spLocks noEditPoints="1"/>
          </p:cNvSpPr>
          <p:nvPr/>
        </p:nvSpPr>
        <p:spPr bwMode="auto">
          <a:xfrm>
            <a:off x="10864764" y="3410771"/>
            <a:ext cx="38301" cy="36828"/>
          </a:xfrm>
          <a:custGeom>
            <a:avLst/>
            <a:gdLst>
              <a:gd name="T0" fmla="*/ 19 w 39"/>
              <a:gd name="T1" fmla="*/ 39 h 39"/>
              <a:gd name="T2" fmla="*/ 18 w 39"/>
              <a:gd name="T3" fmla="*/ 39 h 39"/>
              <a:gd name="T4" fmla="*/ 5 w 39"/>
              <a:gd name="T5" fmla="*/ 32 h 39"/>
              <a:gd name="T6" fmla="*/ 0 w 39"/>
              <a:gd name="T7" fmla="*/ 19 h 39"/>
              <a:gd name="T8" fmla="*/ 20 w 39"/>
              <a:gd name="T9" fmla="*/ 0 h 39"/>
              <a:gd name="T10" fmla="*/ 38 w 39"/>
              <a:gd name="T11" fmla="*/ 20 h 39"/>
              <a:gd name="T12" fmla="*/ 38 w 39"/>
              <a:gd name="T13" fmla="*/ 20 h 39"/>
              <a:gd name="T14" fmla="*/ 19 w 39"/>
              <a:gd name="T15" fmla="*/ 39 h 39"/>
              <a:gd name="T16" fmla="*/ 19 w 39"/>
              <a:gd name="T17" fmla="*/ 11 h 39"/>
              <a:gd name="T18" fmla="*/ 11 w 39"/>
              <a:gd name="T19" fmla="*/ 19 h 39"/>
              <a:gd name="T20" fmla="*/ 13 w 39"/>
              <a:gd name="T21" fmla="*/ 25 h 39"/>
              <a:gd name="T22" fmla="*/ 19 w 39"/>
              <a:gd name="T23" fmla="*/ 28 h 39"/>
              <a:gd name="T24" fmla="*/ 27 w 39"/>
              <a:gd name="T25" fmla="*/ 20 h 39"/>
              <a:gd name="T26" fmla="*/ 20 w 39"/>
              <a:gd name="T27" fmla="*/ 11 h 39"/>
              <a:gd name="T28" fmla="*/ 19 w 39"/>
              <a:gd name="T29" fmla="*/ 11 h 39"/>
              <a:gd name="T30" fmla="*/ 33 w 39"/>
              <a:gd name="T31" fmla="*/ 20 h 39"/>
              <a:gd name="T32" fmla="*/ 33 w 39"/>
              <a:gd name="T33" fmla="*/ 20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9" h="39">
                <a:moveTo>
                  <a:pt x="19" y="39"/>
                </a:moveTo>
                <a:cubicBezTo>
                  <a:pt x="19" y="39"/>
                  <a:pt x="19" y="39"/>
                  <a:pt x="18" y="39"/>
                </a:cubicBezTo>
                <a:cubicBezTo>
                  <a:pt x="13" y="38"/>
                  <a:pt x="8" y="36"/>
                  <a:pt x="5" y="32"/>
                </a:cubicBezTo>
                <a:cubicBezTo>
                  <a:pt x="2" y="29"/>
                  <a:pt x="0" y="24"/>
                  <a:pt x="0" y="19"/>
                </a:cubicBezTo>
                <a:cubicBezTo>
                  <a:pt x="0" y="8"/>
                  <a:pt x="9" y="0"/>
                  <a:pt x="20" y="0"/>
                </a:cubicBezTo>
                <a:cubicBezTo>
                  <a:pt x="31" y="1"/>
                  <a:pt x="39" y="10"/>
                  <a:pt x="38" y="20"/>
                </a:cubicBezTo>
                <a:cubicBezTo>
                  <a:pt x="38" y="20"/>
                  <a:pt x="38" y="20"/>
                  <a:pt x="38" y="20"/>
                </a:cubicBezTo>
                <a:cubicBezTo>
                  <a:pt x="38" y="31"/>
                  <a:pt x="29" y="39"/>
                  <a:pt x="19" y="39"/>
                </a:cubicBezTo>
                <a:close/>
                <a:moveTo>
                  <a:pt x="19" y="11"/>
                </a:moveTo>
                <a:cubicBezTo>
                  <a:pt x="15" y="11"/>
                  <a:pt x="11" y="15"/>
                  <a:pt x="11" y="19"/>
                </a:cubicBezTo>
                <a:cubicBezTo>
                  <a:pt x="11" y="21"/>
                  <a:pt x="12" y="23"/>
                  <a:pt x="13" y="25"/>
                </a:cubicBezTo>
                <a:cubicBezTo>
                  <a:pt x="15" y="27"/>
                  <a:pt x="17" y="28"/>
                  <a:pt x="19" y="28"/>
                </a:cubicBezTo>
                <a:cubicBezTo>
                  <a:pt x="23" y="28"/>
                  <a:pt x="27" y="24"/>
                  <a:pt x="27" y="20"/>
                </a:cubicBezTo>
                <a:cubicBezTo>
                  <a:pt x="28" y="15"/>
                  <a:pt x="24" y="12"/>
                  <a:pt x="20" y="11"/>
                </a:cubicBezTo>
                <a:cubicBezTo>
                  <a:pt x="19" y="11"/>
                  <a:pt x="19" y="11"/>
                  <a:pt x="19" y="11"/>
                </a:cubicBezTo>
                <a:close/>
                <a:moveTo>
                  <a:pt x="33" y="20"/>
                </a:moveTo>
                <a:cubicBezTo>
                  <a:pt x="33" y="20"/>
                  <a:pt x="33" y="20"/>
                  <a:pt x="33" y="2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3" name="Freeform 893">
            <a:extLst>
              <a:ext uri="{FF2B5EF4-FFF2-40B4-BE49-F238E27FC236}">
                <a16:creationId xmlns:a16="http://schemas.microsoft.com/office/drawing/2014/main" id="{1C30F7A4-B018-8CD2-D1DE-6284207A8EBA}"/>
              </a:ext>
            </a:extLst>
          </p:cNvPr>
          <p:cNvSpPr>
            <a:spLocks noEditPoints="1"/>
          </p:cNvSpPr>
          <p:nvPr/>
        </p:nvSpPr>
        <p:spPr bwMode="auto">
          <a:xfrm>
            <a:off x="10954627" y="3459383"/>
            <a:ext cx="36828" cy="36828"/>
          </a:xfrm>
          <a:custGeom>
            <a:avLst/>
            <a:gdLst>
              <a:gd name="T0" fmla="*/ 20 w 39"/>
              <a:gd name="T1" fmla="*/ 38 h 38"/>
              <a:gd name="T2" fmla="*/ 19 w 39"/>
              <a:gd name="T3" fmla="*/ 38 h 38"/>
              <a:gd name="T4" fmla="*/ 6 w 39"/>
              <a:gd name="T5" fmla="*/ 32 h 38"/>
              <a:gd name="T6" fmla="*/ 1 w 39"/>
              <a:gd name="T7" fmla="*/ 18 h 38"/>
              <a:gd name="T8" fmla="*/ 21 w 39"/>
              <a:gd name="T9" fmla="*/ 0 h 38"/>
              <a:gd name="T10" fmla="*/ 34 w 39"/>
              <a:gd name="T11" fmla="*/ 6 h 38"/>
              <a:gd name="T12" fmla="*/ 39 w 39"/>
              <a:gd name="T13" fmla="*/ 20 h 38"/>
              <a:gd name="T14" fmla="*/ 39 w 39"/>
              <a:gd name="T15" fmla="*/ 20 h 38"/>
              <a:gd name="T16" fmla="*/ 20 w 39"/>
              <a:gd name="T17" fmla="*/ 38 h 38"/>
              <a:gd name="T18" fmla="*/ 20 w 39"/>
              <a:gd name="T19" fmla="*/ 11 h 38"/>
              <a:gd name="T20" fmla="*/ 12 w 39"/>
              <a:gd name="T21" fmla="*/ 19 h 38"/>
              <a:gd name="T22" fmla="*/ 14 w 39"/>
              <a:gd name="T23" fmla="*/ 25 h 38"/>
              <a:gd name="T24" fmla="*/ 19 w 39"/>
              <a:gd name="T25" fmla="*/ 27 h 38"/>
              <a:gd name="T26" fmla="*/ 28 w 39"/>
              <a:gd name="T27" fmla="*/ 20 h 38"/>
              <a:gd name="T28" fmla="*/ 28 w 39"/>
              <a:gd name="T29" fmla="*/ 20 h 38"/>
              <a:gd name="T30" fmla="*/ 26 w 39"/>
              <a:gd name="T31" fmla="*/ 14 h 38"/>
              <a:gd name="T32" fmla="*/ 20 w 39"/>
              <a:gd name="T33" fmla="*/ 11 h 38"/>
              <a:gd name="T34" fmla="*/ 20 w 39"/>
              <a:gd name="T35" fmla="*/ 11 h 38"/>
              <a:gd name="T36" fmla="*/ 34 w 39"/>
              <a:gd name="T37" fmla="*/ 20 h 38"/>
              <a:gd name="T38" fmla="*/ 34 w 39"/>
              <a:gd name="T39" fmla="*/ 2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9" h="38">
                <a:moveTo>
                  <a:pt x="20" y="38"/>
                </a:moveTo>
                <a:cubicBezTo>
                  <a:pt x="20" y="38"/>
                  <a:pt x="19" y="38"/>
                  <a:pt x="19" y="38"/>
                </a:cubicBezTo>
                <a:cubicBezTo>
                  <a:pt x="14" y="38"/>
                  <a:pt x="9" y="36"/>
                  <a:pt x="6" y="32"/>
                </a:cubicBezTo>
                <a:cubicBezTo>
                  <a:pt x="2" y="28"/>
                  <a:pt x="0" y="23"/>
                  <a:pt x="1" y="18"/>
                </a:cubicBezTo>
                <a:cubicBezTo>
                  <a:pt x="1" y="8"/>
                  <a:pt x="10" y="0"/>
                  <a:pt x="21" y="0"/>
                </a:cubicBezTo>
                <a:cubicBezTo>
                  <a:pt x="26" y="0"/>
                  <a:pt x="31" y="2"/>
                  <a:pt x="34" y="6"/>
                </a:cubicBezTo>
                <a:cubicBezTo>
                  <a:pt x="37" y="10"/>
                  <a:pt x="39" y="15"/>
                  <a:pt x="39" y="20"/>
                </a:cubicBezTo>
                <a:cubicBezTo>
                  <a:pt x="39" y="20"/>
                  <a:pt x="39" y="20"/>
                  <a:pt x="39" y="20"/>
                </a:cubicBezTo>
                <a:cubicBezTo>
                  <a:pt x="39" y="30"/>
                  <a:pt x="30" y="38"/>
                  <a:pt x="20" y="38"/>
                </a:cubicBezTo>
                <a:close/>
                <a:moveTo>
                  <a:pt x="20" y="11"/>
                </a:moveTo>
                <a:cubicBezTo>
                  <a:pt x="15" y="11"/>
                  <a:pt x="12" y="14"/>
                  <a:pt x="12" y="19"/>
                </a:cubicBezTo>
                <a:cubicBezTo>
                  <a:pt x="12" y="21"/>
                  <a:pt x="12" y="23"/>
                  <a:pt x="14" y="25"/>
                </a:cubicBezTo>
                <a:cubicBezTo>
                  <a:pt x="15" y="26"/>
                  <a:pt x="17" y="27"/>
                  <a:pt x="19" y="27"/>
                </a:cubicBezTo>
                <a:cubicBezTo>
                  <a:pt x="24" y="28"/>
                  <a:pt x="28" y="24"/>
                  <a:pt x="28" y="20"/>
                </a:cubicBezTo>
                <a:cubicBezTo>
                  <a:pt x="28" y="20"/>
                  <a:pt x="28" y="20"/>
                  <a:pt x="28" y="20"/>
                </a:cubicBezTo>
                <a:cubicBezTo>
                  <a:pt x="28" y="17"/>
                  <a:pt x="27" y="15"/>
                  <a:pt x="26" y="14"/>
                </a:cubicBezTo>
                <a:cubicBezTo>
                  <a:pt x="24" y="12"/>
                  <a:pt x="22" y="11"/>
                  <a:pt x="20" y="11"/>
                </a:cubicBezTo>
                <a:cubicBezTo>
                  <a:pt x="20" y="11"/>
                  <a:pt x="20" y="11"/>
                  <a:pt x="20" y="11"/>
                </a:cubicBezTo>
                <a:close/>
                <a:moveTo>
                  <a:pt x="34" y="20"/>
                </a:moveTo>
                <a:cubicBezTo>
                  <a:pt x="34" y="20"/>
                  <a:pt x="34" y="20"/>
                  <a:pt x="34" y="2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4" name="Freeform 894">
            <a:extLst>
              <a:ext uri="{FF2B5EF4-FFF2-40B4-BE49-F238E27FC236}">
                <a16:creationId xmlns:a16="http://schemas.microsoft.com/office/drawing/2014/main" id="{C6C2BE0C-675C-A69E-4E0D-907A324CB1FD}"/>
              </a:ext>
            </a:extLst>
          </p:cNvPr>
          <p:cNvSpPr>
            <a:spLocks noEditPoints="1"/>
          </p:cNvSpPr>
          <p:nvPr/>
        </p:nvSpPr>
        <p:spPr bwMode="auto">
          <a:xfrm>
            <a:off x="11037121" y="3372472"/>
            <a:ext cx="36828" cy="36828"/>
          </a:xfrm>
          <a:custGeom>
            <a:avLst/>
            <a:gdLst>
              <a:gd name="T0" fmla="*/ 20 w 39"/>
              <a:gd name="T1" fmla="*/ 39 h 39"/>
              <a:gd name="T2" fmla="*/ 19 w 39"/>
              <a:gd name="T3" fmla="*/ 39 h 39"/>
              <a:gd name="T4" fmla="*/ 5 w 39"/>
              <a:gd name="T5" fmla="*/ 32 h 39"/>
              <a:gd name="T6" fmla="*/ 0 w 39"/>
              <a:gd name="T7" fmla="*/ 19 h 39"/>
              <a:gd name="T8" fmla="*/ 7 w 39"/>
              <a:gd name="T9" fmla="*/ 5 h 39"/>
              <a:gd name="T10" fmla="*/ 21 w 39"/>
              <a:gd name="T11" fmla="*/ 0 h 39"/>
              <a:gd name="T12" fmla="*/ 34 w 39"/>
              <a:gd name="T13" fmla="*/ 7 h 39"/>
              <a:gd name="T14" fmla="*/ 39 w 39"/>
              <a:gd name="T15" fmla="*/ 20 h 39"/>
              <a:gd name="T16" fmla="*/ 39 w 39"/>
              <a:gd name="T17" fmla="*/ 20 h 39"/>
              <a:gd name="T18" fmla="*/ 20 w 39"/>
              <a:gd name="T19" fmla="*/ 39 h 39"/>
              <a:gd name="T20" fmla="*/ 20 w 39"/>
              <a:gd name="T21" fmla="*/ 11 h 39"/>
              <a:gd name="T22" fmla="*/ 14 w 39"/>
              <a:gd name="T23" fmla="*/ 13 h 39"/>
              <a:gd name="T24" fmla="*/ 11 w 39"/>
              <a:gd name="T25" fmla="*/ 19 h 39"/>
              <a:gd name="T26" fmla="*/ 14 w 39"/>
              <a:gd name="T27" fmla="*/ 25 h 39"/>
              <a:gd name="T28" fmla="*/ 19 w 39"/>
              <a:gd name="T29" fmla="*/ 28 h 39"/>
              <a:gd name="T30" fmla="*/ 28 w 39"/>
              <a:gd name="T31" fmla="*/ 20 h 39"/>
              <a:gd name="T32" fmla="*/ 28 w 39"/>
              <a:gd name="T33" fmla="*/ 20 h 39"/>
              <a:gd name="T34" fmla="*/ 26 w 39"/>
              <a:gd name="T35" fmla="*/ 14 h 39"/>
              <a:gd name="T36" fmla="*/ 20 w 39"/>
              <a:gd name="T37" fmla="*/ 11 h 39"/>
              <a:gd name="T38" fmla="*/ 20 w 39"/>
              <a:gd name="T39" fmla="*/ 11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9" h="39">
                <a:moveTo>
                  <a:pt x="20" y="39"/>
                </a:moveTo>
                <a:cubicBezTo>
                  <a:pt x="19" y="39"/>
                  <a:pt x="19" y="39"/>
                  <a:pt x="19" y="39"/>
                </a:cubicBezTo>
                <a:cubicBezTo>
                  <a:pt x="14" y="38"/>
                  <a:pt x="9" y="36"/>
                  <a:pt x="5" y="32"/>
                </a:cubicBezTo>
                <a:cubicBezTo>
                  <a:pt x="2" y="29"/>
                  <a:pt x="0" y="24"/>
                  <a:pt x="0" y="19"/>
                </a:cubicBezTo>
                <a:cubicBezTo>
                  <a:pt x="1" y="14"/>
                  <a:pt x="3" y="9"/>
                  <a:pt x="7" y="5"/>
                </a:cubicBezTo>
                <a:cubicBezTo>
                  <a:pt x="10" y="2"/>
                  <a:pt x="15" y="0"/>
                  <a:pt x="21" y="0"/>
                </a:cubicBezTo>
                <a:cubicBezTo>
                  <a:pt x="26" y="1"/>
                  <a:pt x="30" y="3"/>
                  <a:pt x="34" y="7"/>
                </a:cubicBezTo>
                <a:cubicBezTo>
                  <a:pt x="37" y="10"/>
                  <a:pt x="39" y="15"/>
                  <a:pt x="39" y="20"/>
                </a:cubicBezTo>
                <a:cubicBezTo>
                  <a:pt x="39" y="20"/>
                  <a:pt x="39" y="20"/>
                  <a:pt x="39" y="20"/>
                </a:cubicBezTo>
                <a:cubicBezTo>
                  <a:pt x="38" y="31"/>
                  <a:pt x="30" y="39"/>
                  <a:pt x="20" y="39"/>
                </a:cubicBezTo>
                <a:close/>
                <a:moveTo>
                  <a:pt x="20" y="11"/>
                </a:moveTo>
                <a:cubicBezTo>
                  <a:pt x="18" y="11"/>
                  <a:pt x="16" y="12"/>
                  <a:pt x="14" y="13"/>
                </a:cubicBezTo>
                <a:cubicBezTo>
                  <a:pt x="12" y="15"/>
                  <a:pt x="12" y="17"/>
                  <a:pt x="11" y="19"/>
                </a:cubicBezTo>
                <a:cubicBezTo>
                  <a:pt x="11" y="21"/>
                  <a:pt x="12" y="23"/>
                  <a:pt x="14" y="25"/>
                </a:cubicBezTo>
                <a:cubicBezTo>
                  <a:pt x="15" y="27"/>
                  <a:pt x="17" y="28"/>
                  <a:pt x="19" y="28"/>
                </a:cubicBezTo>
                <a:cubicBezTo>
                  <a:pt x="24" y="28"/>
                  <a:pt x="28" y="24"/>
                  <a:pt x="28" y="20"/>
                </a:cubicBezTo>
                <a:cubicBezTo>
                  <a:pt x="28" y="20"/>
                  <a:pt x="28" y="20"/>
                  <a:pt x="28" y="20"/>
                </a:cubicBezTo>
                <a:cubicBezTo>
                  <a:pt x="28" y="18"/>
                  <a:pt x="27" y="16"/>
                  <a:pt x="26" y="14"/>
                </a:cubicBezTo>
                <a:cubicBezTo>
                  <a:pt x="24" y="12"/>
                  <a:pt x="22" y="11"/>
                  <a:pt x="20" y="11"/>
                </a:cubicBezTo>
                <a:cubicBezTo>
                  <a:pt x="20" y="11"/>
                  <a:pt x="20" y="11"/>
                  <a:pt x="20" y="1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5" name="Freeform 173">
            <a:extLst>
              <a:ext uri="{FF2B5EF4-FFF2-40B4-BE49-F238E27FC236}">
                <a16:creationId xmlns:a16="http://schemas.microsoft.com/office/drawing/2014/main" id="{9920D1D6-620D-D3F9-B845-AEA6F1FB66FD}"/>
              </a:ext>
            </a:extLst>
          </p:cNvPr>
          <p:cNvSpPr>
            <a:spLocks/>
          </p:cNvSpPr>
          <p:nvPr/>
        </p:nvSpPr>
        <p:spPr bwMode="auto">
          <a:xfrm>
            <a:off x="10783693" y="4966754"/>
            <a:ext cx="222799" cy="278503"/>
          </a:xfrm>
          <a:custGeom>
            <a:avLst/>
            <a:gdLst>
              <a:gd name="T0" fmla="*/ 171 w 175"/>
              <a:gd name="T1" fmla="*/ 219 h 219"/>
              <a:gd name="T2" fmla="*/ 4 w 175"/>
              <a:gd name="T3" fmla="*/ 219 h 219"/>
              <a:gd name="T4" fmla="*/ 0 w 175"/>
              <a:gd name="T5" fmla="*/ 215 h 219"/>
              <a:gd name="T6" fmla="*/ 0 w 175"/>
              <a:gd name="T7" fmla="*/ 4 h 219"/>
              <a:gd name="T8" fmla="*/ 4 w 175"/>
              <a:gd name="T9" fmla="*/ 0 h 219"/>
              <a:gd name="T10" fmla="*/ 171 w 175"/>
              <a:gd name="T11" fmla="*/ 0 h 219"/>
              <a:gd name="T12" fmla="*/ 175 w 175"/>
              <a:gd name="T13" fmla="*/ 4 h 219"/>
              <a:gd name="T14" fmla="*/ 175 w 175"/>
              <a:gd name="T15" fmla="*/ 72 h 219"/>
              <a:gd name="T16" fmla="*/ 171 w 175"/>
              <a:gd name="T17" fmla="*/ 76 h 219"/>
              <a:gd name="T18" fmla="*/ 167 w 175"/>
              <a:gd name="T19" fmla="*/ 72 h 219"/>
              <a:gd name="T20" fmla="*/ 167 w 175"/>
              <a:gd name="T21" fmla="*/ 9 h 219"/>
              <a:gd name="T22" fmla="*/ 8 w 175"/>
              <a:gd name="T23" fmla="*/ 9 h 219"/>
              <a:gd name="T24" fmla="*/ 8 w 175"/>
              <a:gd name="T25" fmla="*/ 211 h 219"/>
              <a:gd name="T26" fmla="*/ 167 w 175"/>
              <a:gd name="T27" fmla="*/ 211 h 219"/>
              <a:gd name="T28" fmla="*/ 167 w 175"/>
              <a:gd name="T29" fmla="*/ 129 h 219"/>
              <a:gd name="T30" fmla="*/ 171 w 175"/>
              <a:gd name="T31" fmla="*/ 125 h 219"/>
              <a:gd name="T32" fmla="*/ 175 w 175"/>
              <a:gd name="T33" fmla="*/ 129 h 219"/>
              <a:gd name="T34" fmla="*/ 175 w 175"/>
              <a:gd name="T35" fmla="*/ 215 h 219"/>
              <a:gd name="T36" fmla="*/ 171 w 175"/>
              <a:gd name="T37" fmla="*/ 219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75" h="219">
                <a:moveTo>
                  <a:pt x="171" y="219"/>
                </a:moveTo>
                <a:cubicBezTo>
                  <a:pt x="4" y="219"/>
                  <a:pt x="4" y="219"/>
                  <a:pt x="4" y="219"/>
                </a:cubicBezTo>
                <a:cubicBezTo>
                  <a:pt x="2" y="219"/>
                  <a:pt x="0" y="217"/>
                  <a:pt x="0" y="215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171" y="0"/>
                  <a:pt x="171" y="0"/>
                  <a:pt x="171" y="0"/>
                </a:cubicBezTo>
                <a:cubicBezTo>
                  <a:pt x="174" y="0"/>
                  <a:pt x="175" y="2"/>
                  <a:pt x="175" y="4"/>
                </a:cubicBezTo>
                <a:cubicBezTo>
                  <a:pt x="175" y="72"/>
                  <a:pt x="175" y="72"/>
                  <a:pt x="175" y="72"/>
                </a:cubicBezTo>
                <a:cubicBezTo>
                  <a:pt x="175" y="74"/>
                  <a:pt x="174" y="76"/>
                  <a:pt x="171" y="76"/>
                </a:cubicBezTo>
                <a:cubicBezTo>
                  <a:pt x="169" y="76"/>
                  <a:pt x="167" y="74"/>
                  <a:pt x="167" y="72"/>
                </a:cubicBezTo>
                <a:cubicBezTo>
                  <a:pt x="167" y="9"/>
                  <a:pt x="167" y="9"/>
                  <a:pt x="167" y="9"/>
                </a:cubicBezTo>
                <a:cubicBezTo>
                  <a:pt x="8" y="9"/>
                  <a:pt x="8" y="9"/>
                  <a:pt x="8" y="9"/>
                </a:cubicBezTo>
                <a:cubicBezTo>
                  <a:pt x="8" y="211"/>
                  <a:pt x="8" y="211"/>
                  <a:pt x="8" y="211"/>
                </a:cubicBezTo>
                <a:cubicBezTo>
                  <a:pt x="167" y="211"/>
                  <a:pt x="167" y="211"/>
                  <a:pt x="167" y="211"/>
                </a:cubicBezTo>
                <a:cubicBezTo>
                  <a:pt x="167" y="129"/>
                  <a:pt x="167" y="129"/>
                  <a:pt x="167" y="129"/>
                </a:cubicBezTo>
                <a:cubicBezTo>
                  <a:pt x="167" y="126"/>
                  <a:pt x="169" y="125"/>
                  <a:pt x="171" y="125"/>
                </a:cubicBezTo>
                <a:cubicBezTo>
                  <a:pt x="174" y="125"/>
                  <a:pt x="175" y="126"/>
                  <a:pt x="175" y="129"/>
                </a:cubicBezTo>
                <a:cubicBezTo>
                  <a:pt x="175" y="215"/>
                  <a:pt x="175" y="215"/>
                  <a:pt x="175" y="215"/>
                </a:cubicBezTo>
                <a:cubicBezTo>
                  <a:pt x="175" y="217"/>
                  <a:pt x="174" y="219"/>
                  <a:pt x="171" y="219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6" name="Freeform 174">
            <a:extLst>
              <a:ext uri="{FF2B5EF4-FFF2-40B4-BE49-F238E27FC236}">
                <a16:creationId xmlns:a16="http://schemas.microsoft.com/office/drawing/2014/main" id="{375641B6-B7E5-EEF0-F15D-8CD166AB2D51}"/>
              </a:ext>
            </a:extLst>
          </p:cNvPr>
          <p:cNvSpPr>
            <a:spLocks noEditPoints="1"/>
          </p:cNvSpPr>
          <p:nvPr/>
        </p:nvSpPr>
        <p:spPr bwMode="auto">
          <a:xfrm>
            <a:off x="10827017" y="5036893"/>
            <a:ext cx="53637" cy="51577"/>
          </a:xfrm>
          <a:custGeom>
            <a:avLst/>
            <a:gdLst>
              <a:gd name="T0" fmla="*/ 38 w 42"/>
              <a:gd name="T1" fmla="*/ 41 h 41"/>
              <a:gd name="T2" fmla="*/ 4 w 42"/>
              <a:gd name="T3" fmla="*/ 41 h 41"/>
              <a:gd name="T4" fmla="*/ 0 w 42"/>
              <a:gd name="T5" fmla="*/ 37 h 41"/>
              <a:gd name="T6" fmla="*/ 0 w 42"/>
              <a:gd name="T7" fmla="*/ 4 h 41"/>
              <a:gd name="T8" fmla="*/ 4 w 42"/>
              <a:gd name="T9" fmla="*/ 0 h 41"/>
              <a:gd name="T10" fmla="*/ 38 w 42"/>
              <a:gd name="T11" fmla="*/ 0 h 41"/>
              <a:gd name="T12" fmla="*/ 42 w 42"/>
              <a:gd name="T13" fmla="*/ 4 h 41"/>
              <a:gd name="T14" fmla="*/ 42 w 42"/>
              <a:gd name="T15" fmla="*/ 37 h 41"/>
              <a:gd name="T16" fmla="*/ 38 w 42"/>
              <a:gd name="T17" fmla="*/ 41 h 41"/>
              <a:gd name="T18" fmla="*/ 8 w 42"/>
              <a:gd name="T19" fmla="*/ 33 h 41"/>
              <a:gd name="T20" fmla="*/ 34 w 42"/>
              <a:gd name="T21" fmla="*/ 33 h 41"/>
              <a:gd name="T22" fmla="*/ 34 w 42"/>
              <a:gd name="T23" fmla="*/ 8 h 41"/>
              <a:gd name="T24" fmla="*/ 8 w 42"/>
              <a:gd name="T25" fmla="*/ 8 h 41"/>
              <a:gd name="T26" fmla="*/ 8 w 42"/>
              <a:gd name="T27" fmla="*/ 33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2" h="41">
                <a:moveTo>
                  <a:pt x="38" y="41"/>
                </a:moveTo>
                <a:cubicBezTo>
                  <a:pt x="4" y="41"/>
                  <a:pt x="4" y="41"/>
                  <a:pt x="4" y="41"/>
                </a:cubicBezTo>
                <a:cubicBezTo>
                  <a:pt x="2" y="41"/>
                  <a:pt x="0" y="39"/>
                  <a:pt x="0" y="37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40" y="0"/>
                  <a:pt x="42" y="2"/>
                  <a:pt x="42" y="4"/>
                </a:cubicBezTo>
                <a:cubicBezTo>
                  <a:pt x="42" y="37"/>
                  <a:pt x="42" y="37"/>
                  <a:pt x="42" y="37"/>
                </a:cubicBezTo>
                <a:cubicBezTo>
                  <a:pt x="42" y="39"/>
                  <a:pt x="40" y="41"/>
                  <a:pt x="38" y="41"/>
                </a:cubicBezTo>
                <a:close/>
                <a:moveTo>
                  <a:pt x="8" y="33"/>
                </a:moveTo>
                <a:cubicBezTo>
                  <a:pt x="34" y="33"/>
                  <a:pt x="34" y="33"/>
                  <a:pt x="34" y="33"/>
                </a:cubicBezTo>
                <a:cubicBezTo>
                  <a:pt x="34" y="8"/>
                  <a:pt x="34" y="8"/>
                  <a:pt x="34" y="8"/>
                </a:cubicBezTo>
                <a:cubicBezTo>
                  <a:pt x="8" y="8"/>
                  <a:pt x="8" y="8"/>
                  <a:pt x="8" y="8"/>
                </a:cubicBezTo>
                <a:lnTo>
                  <a:pt x="8" y="3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7" name="Freeform 175">
            <a:extLst>
              <a:ext uri="{FF2B5EF4-FFF2-40B4-BE49-F238E27FC236}">
                <a16:creationId xmlns:a16="http://schemas.microsoft.com/office/drawing/2014/main" id="{345AE4CB-7BCA-BC97-03AB-BEA34E537AA6}"/>
              </a:ext>
            </a:extLst>
          </p:cNvPr>
          <p:cNvSpPr>
            <a:spLocks noEditPoints="1"/>
          </p:cNvSpPr>
          <p:nvPr/>
        </p:nvSpPr>
        <p:spPr bwMode="auto">
          <a:xfrm>
            <a:off x="10827017" y="5123540"/>
            <a:ext cx="53637" cy="53637"/>
          </a:xfrm>
          <a:custGeom>
            <a:avLst/>
            <a:gdLst>
              <a:gd name="T0" fmla="*/ 38 w 42"/>
              <a:gd name="T1" fmla="*/ 42 h 42"/>
              <a:gd name="T2" fmla="*/ 4 w 42"/>
              <a:gd name="T3" fmla="*/ 42 h 42"/>
              <a:gd name="T4" fmla="*/ 0 w 42"/>
              <a:gd name="T5" fmla="*/ 38 h 42"/>
              <a:gd name="T6" fmla="*/ 0 w 42"/>
              <a:gd name="T7" fmla="*/ 5 h 42"/>
              <a:gd name="T8" fmla="*/ 4 w 42"/>
              <a:gd name="T9" fmla="*/ 0 h 42"/>
              <a:gd name="T10" fmla="*/ 38 w 42"/>
              <a:gd name="T11" fmla="*/ 0 h 42"/>
              <a:gd name="T12" fmla="*/ 42 w 42"/>
              <a:gd name="T13" fmla="*/ 5 h 42"/>
              <a:gd name="T14" fmla="*/ 42 w 42"/>
              <a:gd name="T15" fmla="*/ 38 h 42"/>
              <a:gd name="T16" fmla="*/ 38 w 42"/>
              <a:gd name="T17" fmla="*/ 42 h 42"/>
              <a:gd name="T18" fmla="*/ 8 w 42"/>
              <a:gd name="T19" fmla="*/ 34 h 42"/>
              <a:gd name="T20" fmla="*/ 34 w 42"/>
              <a:gd name="T21" fmla="*/ 34 h 42"/>
              <a:gd name="T22" fmla="*/ 34 w 42"/>
              <a:gd name="T23" fmla="*/ 9 h 42"/>
              <a:gd name="T24" fmla="*/ 8 w 42"/>
              <a:gd name="T25" fmla="*/ 9 h 42"/>
              <a:gd name="T26" fmla="*/ 8 w 42"/>
              <a:gd name="T27" fmla="*/ 34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2" h="42">
                <a:moveTo>
                  <a:pt x="38" y="42"/>
                </a:moveTo>
                <a:cubicBezTo>
                  <a:pt x="4" y="42"/>
                  <a:pt x="4" y="42"/>
                  <a:pt x="4" y="42"/>
                </a:cubicBezTo>
                <a:cubicBezTo>
                  <a:pt x="2" y="42"/>
                  <a:pt x="0" y="40"/>
                  <a:pt x="0" y="38"/>
                </a:cubicBezTo>
                <a:cubicBezTo>
                  <a:pt x="0" y="5"/>
                  <a:pt x="0" y="5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40" y="0"/>
                  <a:pt x="42" y="2"/>
                  <a:pt x="42" y="5"/>
                </a:cubicBezTo>
                <a:cubicBezTo>
                  <a:pt x="42" y="38"/>
                  <a:pt x="42" y="38"/>
                  <a:pt x="42" y="38"/>
                </a:cubicBezTo>
                <a:cubicBezTo>
                  <a:pt x="42" y="40"/>
                  <a:pt x="40" y="42"/>
                  <a:pt x="38" y="42"/>
                </a:cubicBezTo>
                <a:close/>
                <a:moveTo>
                  <a:pt x="8" y="34"/>
                </a:moveTo>
                <a:cubicBezTo>
                  <a:pt x="34" y="34"/>
                  <a:pt x="34" y="34"/>
                  <a:pt x="34" y="34"/>
                </a:cubicBezTo>
                <a:cubicBezTo>
                  <a:pt x="34" y="9"/>
                  <a:pt x="34" y="9"/>
                  <a:pt x="34" y="9"/>
                </a:cubicBezTo>
                <a:cubicBezTo>
                  <a:pt x="8" y="9"/>
                  <a:pt x="8" y="9"/>
                  <a:pt x="8" y="9"/>
                </a:cubicBezTo>
                <a:lnTo>
                  <a:pt x="8" y="3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8" name="Freeform 176">
            <a:extLst>
              <a:ext uri="{FF2B5EF4-FFF2-40B4-BE49-F238E27FC236}">
                <a16:creationId xmlns:a16="http://schemas.microsoft.com/office/drawing/2014/main" id="{013B841E-FE1C-28E6-1D03-56F7702E286B}"/>
              </a:ext>
            </a:extLst>
          </p:cNvPr>
          <p:cNvSpPr>
            <a:spLocks/>
          </p:cNvSpPr>
          <p:nvPr/>
        </p:nvSpPr>
        <p:spPr bwMode="auto">
          <a:xfrm>
            <a:off x="10899217" y="5078155"/>
            <a:ext cx="51577" cy="10316"/>
          </a:xfrm>
          <a:custGeom>
            <a:avLst/>
            <a:gdLst>
              <a:gd name="T0" fmla="*/ 36 w 40"/>
              <a:gd name="T1" fmla="*/ 8 h 8"/>
              <a:gd name="T2" fmla="*/ 4 w 40"/>
              <a:gd name="T3" fmla="*/ 8 h 8"/>
              <a:gd name="T4" fmla="*/ 0 w 40"/>
              <a:gd name="T5" fmla="*/ 4 h 8"/>
              <a:gd name="T6" fmla="*/ 4 w 40"/>
              <a:gd name="T7" fmla="*/ 0 h 8"/>
              <a:gd name="T8" fmla="*/ 36 w 40"/>
              <a:gd name="T9" fmla="*/ 0 h 8"/>
              <a:gd name="T10" fmla="*/ 40 w 40"/>
              <a:gd name="T11" fmla="*/ 4 h 8"/>
              <a:gd name="T12" fmla="*/ 36 w 40"/>
              <a:gd name="T13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0" h="8">
                <a:moveTo>
                  <a:pt x="36" y="8"/>
                </a:moveTo>
                <a:cubicBezTo>
                  <a:pt x="4" y="8"/>
                  <a:pt x="4" y="8"/>
                  <a:pt x="4" y="8"/>
                </a:cubicBezTo>
                <a:cubicBezTo>
                  <a:pt x="2" y="8"/>
                  <a:pt x="0" y="6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8" y="0"/>
                  <a:pt x="40" y="2"/>
                  <a:pt x="40" y="4"/>
                </a:cubicBezTo>
                <a:cubicBezTo>
                  <a:pt x="40" y="6"/>
                  <a:pt x="38" y="8"/>
                  <a:pt x="36" y="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9" name="Freeform 177">
            <a:extLst>
              <a:ext uri="{FF2B5EF4-FFF2-40B4-BE49-F238E27FC236}">
                <a16:creationId xmlns:a16="http://schemas.microsoft.com/office/drawing/2014/main" id="{9A8EF806-9ED9-FFF4-4657-8251854D73DD}"/>
              </a:ext>
            </a:extLst>
          </p:cNvPr>
          <p:cNvSpPr>
            <a:spLocks/>
          </p:cNvSpPr>
          <p:nvPr/>
        </p:nvSpPr>
        <p:spPr bwMode="auto">
          <a:xfrm>
            <a:off x="10899217" y="5166861"/>
            <a:ext cx="51577" cy="10316"/>
          </a:xfrm>
          <a:custGeom>
            <a:avLst/>
            <a:gdLst>
              <a:gd name="T0" fmla="*/ 36 w 40"/>
              <a:gd name="T1" fmla="*/ 8 h 8"/>
              <a:gd name="T2" fmla="*/ 4 w 40"/>
              <a:gd name="T3" fmla="*/ 8 h 8"/>
              <a:gd name="T4" fmla="*/ 0 w 40"/>
              <a:gd name="T5" fmla="*/ 4 h 8"/>
              <a:gd name="T6" fmla="*/ 4 w 40"/>
              <a:gd name="T7" fmla="*/ 0 h 8"/>
              <a:gd name="T8" fmla="*/ 36 w 40"/>
              <a:gd name="T9" fmla="*/ 0 h 8"/>
              <a:gd name="T10" fmla="*/ 40 w 40"/>
              <a:gd name="T11" fmla="*/ 4 h 8"/>
              <a:gd name="T12" fmla="*/ 36 w 40"/>
              <a:gd name="T13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0" h="8">
                <a:moveTo>
                  <a:pt x="36" y="8"/>
                </a:moveTo>
                <a:cubicBezTo>
                  <a:pt x="4" y="8"/>
                  <a:pt x="4" y="8"/>
                  <a:pt x="4" y="8"/>
                </a:cubicBezTo>
                <a:cubicBezTo>
                  <a:pt x="2" y="8"/>
                  <a:pt x="0" y="6"/>
                  <a:pt x="0" y="4"/>
                </a:cubicBezTo>
                <a:cubicBezTo>
                  <a:pt x="0" y="1"/>
                  <a:pt x="2" y="0"/>
                  <a:pt x="4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8" y="0"/>
                  <a:pt x="40" y="1"/>
                  <a:pt x="40" y="4"/>
                </a:cubicBezTo>
                <a:cubicBezTo>
                  <a:pt x="40" y="6"/>
                  <a:pt x="38" y="8"/>
                  <a:pt x="36" y="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0" name="Freeform 178">
            <a:extLst>
              <a:ext uri="{FF2B5EF4-FFF2-40B4-BE49-F238E27FC236}">
                <a16:creationId xmlns:a16="http://schemas.microsoft.com/office/drawing/2014/main" id="{0DB5FACC-3C01-61F8-E86B-9C61952A76F7}"/>
              </a:ext>
            </a:extLst>
          </p:cNvPr>
          <p:cNvSpPr>
            <a:spLocks noEditPoints="1"/>
          </p:cNvSpPr>
          <p:nvPr/>
        </p:nvSpPr>
        <p:spPr bwMode="auto">
          <a:xfrm>
            <a:off x="10938416" y="5005946"/>
            <a:ext cx="150598" cy="148533"/>
          </a:xfrm>
          <a:custGeom>
            <a:avLst/>
            <a:gdLst>
              <a:gd name="T0" fmla="*/ 5 w 118"/>
              <a:gd name="T1" fmla="*/ 117 h 117"/>
              <a:gd name="T2" fmla="*/ 2 w 118"/>
              <a:gd name="T3" fmla="*/ 116 h 117"/>
              <a:gd name="T4" fmla="*/ 1 w 118"/>
              <a:gd name="T5" fmla="*/ 112 h 117"/>
              <a:gd name="T6" fmla="*/ 11 w 118"/>
              <a:gd name="T7" fmla="*/ 78 h 117"/>
              <a:gd name="T8" fmla="*/ 12 w 118"/>
              <a:gd name="T9" fmla="*/ 76 h 117"/>
              <a:gd name="T10" fmla="*/ 86 w 118"/>
              <a:gd name="T11" fmla="*/ 1 h 117"/>
              <a:gd name="T12" fmla="*/ 92 w 118"/>
              <a:gd name="T13" fmla="*/ 1 h 117"/>
              <a:gd name="T14" fmla="*/ 117 w 118"/>
              <a:gd name="T15" fmla="*/ 26 h 117"/>
              <a:gd name="T16" fmla="*/ 118 w 118"/>
              <a:gd name="T17" fmla="*/ 29 h 117"/>
              <a:gd name="T18" fmla="*/ 117 w 118"/>
              <a:gd name="T19" fmla="*/ 32 h 117"/>
              <a:gd name="T20" fmla="*/ 42 w 118"/>
              <a:gd name="T21" fmla="*/ 106 h 117"/>
              <a:gd name="T22" fmla="*/ 40 w 118"/>
              <a:gd name="T23" fmla="*/ 107 h 117"/>
              <a:gd name="T24" fmla="*/ 6 w 118"/>
              <a:gd name="T25" fmla="*/ 117 h 117"/>
              <a:gd name="T26" fmla="*/ 5 w 118"/>
              <a:gd name="T27" fmla="*/ 117 h 117"/>
              <a:gd name="T28" fmla="*/ 18 w 118"/>
              <a:gd name="T29" fmla="*/ 81 h 117"/>
              <a:gd name="T30" fmla="*/ 11 w 118"/>
              <a:gd name="T31" fmla="*/ 107 h 117"/>
              <a:gd name="T32" fmla="*/ 37 w 118"/>
              <a:gd name="T33" fmla="*/ 100 h 117"/>
              <a:gd name="T34" fmla="*/ 108 w 118"/>
              <a:gd name="T35" fmla="*/ 29 h 117"/>
              <a:gd name="T36" fmla="*/ 89 w 118"/>
              <a:gd name="T37" fmla="*/ 10 h 117"/>
              <a:gd name="T38" fmla="*/ 18 w 118"/>
              <a:gd name="T39" fmla="*/ 81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18" h="117">
                <a:moveTo>
                  <a:pt x="5" y="117"/>
                </a:moveTo>
                <a:cubicBezTo>
                  <a:pt x="4" y="117"/>
                  <a:pt x="3" y="117"/>
                  <a:pt x="2" y="116"/>
                </a:cubicBezTo>
                <a:cubicBezTo>
                  <a:pt x="1" y="115"/>
                  <a:pt x="0" y="114"/>
                  <a:pt x="1" y="112"/>
                </a:cubicBezTo>
                <a:cubicBezTo>
                  <a:pt x="11" y="78"/>
                  <a:pt x="11" y="78"/>
                  <a:pt x="11" y="78"/>
                </a:cubicBezTo>
                <a:cubicBezTo>
                  <a:pt x="11" y="77"/>
                  <a:pt x="11" y="76"/>
                  <a:pt x="12" y="76"/>
                </a:cubicBezTo>
                <a:cubicBezTo>
                  <a:pt x="86" y="1"/>
                  <a:pt x="86" y="1"/>
                  <a:pt x="86" y="1"/>
                </a:cubicBezTo>
                <a:cubicBezTo>
                  <a:pt x="88" y="0"/>
                  <a:pt x="91" y="0"/>
                  <a:pt x="92" y="1"/>
                </a:cubicBezTo>
                <a:cubicBezTo>
                  <a:pt x="117" y="26"/>
                  <a:pt x="117" y="26"/>
                  <a:pt x="117" y="26"/>
                </a:cubicBezTo>
                <a:cubicBezTo>
                  <a:pt x="118" y="27"/>
                  <a:pt x="118" y="28"/>
                  <a:pt x="118" y="29"/>
                </a:cubicBezTo>
                <a:cubicBezTo>
                  <a:pt x="118" y="30"/>
                  <a:pt x="118" y="31"/>
                  <a:pt x="117" y="32"/>
                </a:cubicBezTo>
                <a:cubicBezTo>
                  <a:pt x="42" y="106"/>
                  <a:pt x="42" y="106"/>
                  <a:pt x="42" y="106"/>
                </a:cubicBezTo>
                <a:cubicBezTo>
                  <a:pt x="42" y="107"/>
                  <a:pt x="41" y="107"/>
                  <a:pt x="40" y="107"/>
                </a:cubicBezTo>
                <a:cubicBezTo>
                  <a:pt x="6" y="117"/>
                  <a:pt x="6" y="117"/>
                  <a:pt x="6" y="117"/>
                </a:cubicBezTo>
                <a:cubicBezTo>
                  <a:pt x="5" y="117"/>
                  <a:pt x="5" y="117"/>
                  <a:pt x="5" y="117"/>
                </a:cubicBezTo>
                <a:close/>
                <a:moveTo>
                  <a:pt x="18" y="81"/>
                </a:moveTo>
                <a:cubicBezTo>
                  <a:pt x="11" y="107"/>
                  <a:pt x="11" y="107"/>
                  <a:pt x="11" y="107"/>
                </a:cubicBezTo>
                <a:cubicBezTo>
                  <a:pt x="37" y="100"/>
                  <a:pt x="37" y="100"/>
                  <a:pt x="37" y="100"/>
                </a:cubicBezTo>
                <a:cubicBezTo>
                  <a:pt x="108" y="29"/>
                  <a:pt x="108" y="29"/>
                  <a:pt x="108" y="29"/>
                </a:cubicBezTo>
                <a:cubicBezTo>
                  <a:pt x="89" y="10"/>
                  <a:pt x="89" y="10"/>
                  <a:pt x="89" y="10"/>
                </a:cubicBezTo>
                <a:lnTo>
                  <a:pt x="18" y="8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1" name="Freeform 179">
            <a:extLst>
              <a:ext uri="{FF2B5EF4-FFF2-40B4-BE49-F238E27FC236}">
                <a16:creationId xmlns:a16="http://schemas.microsoft.com/office/drawing/2014/main" id="{76FCABCB-F444-C265-D456-0D8E23A99F63}"/>
              </a:ext>
            </a:extLst>
          </p:cNvPr>
          <p:cNvSpPr>
            <a:spLocks/>
          </p:cNvSpPr>
          <p:nvPr/>
        </p:nvSpPr>
        <p:spPr bwMode="auto">
          <a:xfrm>
            <a:off x="10950793" y="5098782"/>
            <a:ext cx="43324" cy="43324"/>
          </a:xfrm>
          <a:custGeom>
            <a:avLst/>
            <a:gdLst>
              <a:gd name="T0" fmla="*/ 29 w 34"/>
              <a:gd name="T1" fmla="*/ 33 h 33"/>
              <a:gd name="T2" fmla="*/ 26 w 34"/>
              <a:gd name="T3" fmla="*/ 32 h 33"/>
              <a:gd name="T4" fmla="*/ 2 w 34"/>
              <a:gd name="T5" fmla="*/ 8 h 33"/>
              <a:gd name="T6" fmla="*/ 2 w 34"/>
              <a:gd name="T7" fmla="*/ 2 h 33"/>
              <a:gd name="T8" fmla="*/ 8 w 34"/>
              <a:gd name="T9" fmla="*/ 2 h 33"/>
              <a:gd name="T10" fmla="*/ 32 w 34"/>
              <a:gd name="T11" fmla="*/ 26 h 33"/>
              <a:gd name="T12" fmla="*/ 32 w 34"/>
              <a:gd name="T13" fmla="*/ 32 h 33"/>
              <a:gd name="T14" fmla="*/ 29 w 34"/>
              <a:gd name="T15" fmla="*/ 33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4" h="33">
                <a:moveTo>
                  <a:pt x="29" y="33"/>
                </a:moveTo>
                <a:cubicBezTo>
                  <a:pt x="28" y="33"/>
                  <a:pt x="27" y="33"/>
                  <a:pt x="26" y="32"/>
                </a:cubicBezTo>
                <a:cubicBezTo>
                  <a:pt x="2" y="8"/>
                  <a:pt x="2" y="8"/>
                  <a:pt x="2" y="8"/>
                </a:cubicBezTo>
                <a:cubicBezTo>
                  <a:pt x="0" y="6"/>
                  <a:pt x="0" y="3"/>
                  <a:pt x="2" y="2"/>
                </a:cubicBezTo>
                <a:cubicBezTo>
                  <a:pt x="3" y="0"/>
                  <a:pt x="6" y="0"/>
                  <a:pt x="8" y="2"/>
                </a:cubicBezTo>
                <a:cubicBezTo>
                  <a:pt x="32" y="26"/>
                  <a:pt x="32" y="26"/>
                  <a:pt x="32" y="26"/>
                </a:cubicBezTo>
                <a:cubicBezTo>
                  <a:pt x="34" y="28"/>
                  <a:pt x="34" y="31"/>
                  <a:pt x="32" y="32"/>
                </a:cubicBezTo>
                <a:cubicBezTo>
                  <a:pt x="31" y="33"/>
                  <a:pt x="30" y="33"/>
                  <a:pt x="29" y="3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2" name="Freeform 180">
            <a:extLst>
              <a:ext uri="{FF2B5EF4-FFF2-40B4-BE49-F238E27FC236}">
                <a16:creationId xmlns:a16="http://schemas.microsoft.com/office/drawing/2014/main" id="{C0D79809-18C9-6006-A3D0-6FEC28447846}"/>
              </a:ext>
            </a:extLst>
          </p:cNvPr>
          <p:cNvSpPr>
            <a:spLocks noEditPoints="1"/>
          </p:cNvSpPr>
          <p:nvPr/>
        </p:nvSpPr>
        <p:spPr bwMode="auto">
          <a:xfrm>
            <a:off x="11045691" y="4981196"/>
            <a:ext cx="68079" cy="66016"/>
          </a:xfrm>
          <a:custGeom>
            <a:avLst/>
            <a:gdLst>
              <a:gd name="T0" fmla="*/ 29 w 52"/>
              <a:gd name="T1" fmla="*/ 52 h 52"/>
              <a:gd name="T2" fmla="*/ 26 w 52"/>
              <a:gd name="T3" fmla="*/ 51 h 52"/>
              <a:gd name="T4" fmla="*/ 1 w 52"/>
              <a:gd name="T5" fmla="*/ 26 h 52"/>
              <a:gd name="T6" fmla="*/ 1 w 52"/>
              <a:gd name="T7" fmla="*/ 20 h 52"/>
              <a:gd name="T8" fmla="*/ 20 w 52"/>
              <a:gd name="T9" fmla="*/ 2 h 52"/>
              <a:gd name="T10" fmla="*/ 26 w 52"/>
              <a:gd name="T11" fmla="*/ 2 h 52"/>
              <a:gd name="T12" fmla="*/ 50 w 52"/>
              <a:gd name="T13" fmla="*/ 26 h 52"/>
              <a:gd name="T14" fmla="*/ 50 w 52"/>
              <a:gd name="T15" fmla="*/ 32 h 52"/>
              <a:gd name="T16" fmla="*/ 32 w 52"/>
              <a:gd name="T17" fmla="*/ 51 h 52"/>
              <a:gd name="T18" fmla="*/ 29 w 52"/>
              <a:gd name="T19" fmla="*/ 52 h 52"/>
              <a:gd name="T20" fmla="*/ 10 w 52"/>
              <a:gd name="T21" fmla="*/ 23 h 52"/>
              <a:gd name="T22" fmla="*/ 29 w 52"/>
              <a:gd name="T23" fmla="*/ 42 h 52"/>
              <a:gd name="T24" fmla="*/ 41 w 52"/>
              <a:gd name="T25" fmla="*/ 29 h 52"/>
              <a:gd name="T26" fmla="*/ 23 w 52"/>
              <a:gd name="T27" fmla="*/ 11 h 52"/>
              <a:gd name="T28" fmla="*/ 10 w 52"/>
              <a:gd name="T2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2" h="52">
                <a:moveTo>
                  <a:pt x="29" y="52"/>
                </a:moveTo>
                <a:cubicBezTo>
                  <a:pt x="28" y="52"/>
                  <a:pt x="27" y="51"/>
                  <a:pt x="26" y="51"/>
                </a:cubicBezTo>
                <a:cubicBezTo>
                  <a:pt x="1" y="26"/>
                  <a:pt x="1" y="26"/>
                  <a:pt x="1" y="26"/>
                </a:cubicBezTo>
                <a:cubicBezTo>
                  <a:pt x="0" y="24"/>
                  <a:pt x="0" y="22"/>
                  <a:pt x="1" y="20"/>
                </a:cubicBezTo>
                <a:cubicBezTo>
                  <a:pt x="20" y="2"/>
                  <a:pt x="20" y="2"/>
                  <a:pt x="20" y="2"/>
                </a:cubicBezTo>
                <a:cubicBezTo>
                  <a:pt x="21" y="0"/>
                  <a:pt x="24" y="0"/>
                  <a:pt x="26" y="2"/>
                </a:cubicBezTo>
                <a:cubicBezTo>
                  <a:pt x="50" y="26"/>
                  <a:pt x="50" y="26"/>
                  <a:pt x="50" y="26"/>
                </a:cubicBezTo>
                <a:cubicBezTo>
                  <a:pt x="52" y="28"/>
                  <a:pt x="52" y="31"/>
                  <a:pt x="50" y="32"/>
                </a:cubicBezTo>
                <a:cubicBezTo>
                  <a:pt x="32" y="51"/>
                  <a:pt x="32" y="51"/>
                  <a:pt x="32" y="51"/>
                </a:cubicBezTo>
                <a:cubicBezTo>
                  <a:pt x="31" y="51"/>
                  <a:pt x="30" y="52"/>
                  <a:pt x="29" y="52"/>
                </a:cubicBezTo>
                <a:close/>
                <a:moveTo>
                  <a:pt x="10" y="23"/>
                </a:moveTo>
                <a:cubicBezTo>
                  <a:pt x="29" y="42"/>
                  <a:pt x="29" y="42"/>
                  <a:pt x="29" y="42"/>
                </a:cubicBezTo>
                <a:cubicBezTo>
                  <a:pt x="41" y="29"/>
                  <a:pt x="41" y="29"/>
                  <a:pt x="41" y="29"/>
                </a:cubicBezTo>
                <a:cubicBezTo>
                  <a:pt x="23" y="11"/>
                  <a:pt x="23" y="11"/>
                  <a:pt x="23" y="11"/>
                </a:cubicBezTo>
                <a:lnTo>
                  <a:pt x="10" y="2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3" name="Freeform 769">
            <a:extLst>
              <a:ext uri="{FF2B5EF4-FFF2-40B4-BE49-F238E27FC236}">
                <a16:creationId xmlns:a16="http://schemas.microsoft.com/office/drawing/2014/main" id="{3BF4AA3D-A2BD-9540-42B7-5955DCA3DCE4}"/>
              </a:ext>
            </a:extLst>
          </p:cNvPr>
          <p:cNvSpPr>
            <a:spLocks noEditPoints="1"/>
          </p:cNvSpPr>
          <p:nvPr/>
        </p:nvSpPr>
        <p:spPr bwMode="auto">
          <a:xfrm>
            <a:off x="11015442" y="1652595"/>
            <a:ext cx="76717" cy="76717"/>
          </a:xfrm>
          <a:custGeom>
            <a:avLst/>
            <a:gdLst>
              <a:gd name="T0" fmla="*/ 77 w 84"/>
              <a:gd name="T1" fmla="*/ 84 h 84"/>
              <a:gd name="T2" fmla="*/ 6 w 84"/>
              <a:gd name="T3" fmla="*/ 84 h 84"/>
              <a:gd name="T4" fmla="*/ 0 w 84"/>
              <a:gd name="T5" fmla="*/ 78 h 84"/>
              <a:gd name="T6" fmla="*/ 0 w 84"/>
              <a:gd name="T7" fmla="*/ 7 h 84"/>
              <a:gd name="T8" fmla="*/ 4 w 84"/>
              <a:gd name="T9" fmla="*/ 1 h 84"/>
              <a:gd name="T10" fmla="*/ 10 w 84"/>
              <a:gd name="T11" fmla="*/ 2 h 84"/>
              <a:gd name="T12" fmla="*/ 82 w 84"/>
              <a:gd name="T13" fmla="*/ 74 h 84"/>
              <a:gd name="T14" fmla="*/ 83 w 84"/>
              <a:gd name="T15" fmla="*/ 81 h 84"/>
              <a:gd name="T16" fmla="*/ 77 w 84"/>
              <a:gd name="T17" fmla="*/ 84 h 84"/>
              <a:gd name="T18" fmla="*/ 12 w 84"/>
              <a:gd name="T19" fmla="*/ 72 h 84"/>
              <a:gd name="T20" fmla="*/ 63 w 84"/>
              <a:gd name="T21" fmla="*/ 72 h 84"/>
              <a:gd name="T22" fmla="*/ 12 w 84"/>
              <a:gd name="T23" fmla="*/ 22 h 84"/>
              <a:gd name="T24" fmla="*/ 12 w 84"/>
              <a:gd name="T25" fmla="*/ 72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" h="84">
                <a:moveTo>
                  <a:pt x="77" y="84"/>
                </a:moveTo>
                <a:cubicBezTo>
                  <a:pt x="6" y="84"/>
                  <a:pt x="6" y="84"/>
                  <a:pt x="6" y="84"/>
                </a:cubicBezTo>
                <a:cubicBezTo>
                  <a:pt x="3" y="84"/>
                  <a:pt x="0" y="82"/>
                  <a:pt x="0" y="78"/>
                </a:cubicBezTo>
                <a:cubicBezTo>
                  <a:pt x="0" y="7"/>
                  <a:pt x="0" y="7"/>
                  <a:pt x="0" y="7"/>
                </a:cubicBezTo>
                <a:cubicBezTo>
                  <a:pt x="0" y="4"/>
                  <a:pt x="1" y="2"/>
                  <a:pt x="4" y="1"/>
                </a:cubicBezTo>
                <a:cubicBezTo>
                  <a:pt x="6" y="0"/>
                  <a:pt x="9" y="1"/>
                  <a:pt x="10" y="2"/>
                </a:cubicBezTo>
                <a:cubicBezTo>
                  <a:pt x="82" y="74"/>
                  <a:pt x="82" y="74"/>
                  <a:pt x="82" y="74"/>
                </a:cubicBezTo>
                <a:cubicBezTo>
                  <a:pt x="83" y="76"/>
                  <a:pt x="84" y="78"/>
                  <a:pt x="83" y="81"/>
                </a:cubicBezTo>
                <a:cubicBezTo>
                  <a:pt x="82" y="83"/>
                  <a:pt x="80" y="84"/>
                  <a:pt x="77" y="84"/>
                </a:cubicBezTo>
                <a:close/>
                <a:moveTo>
                  <a:pt x="12" y="72"/>
                </a:moveTo>
                <a:cubicBezTo>
                  <a:pt x="63" y="72"/>
                  <a:pt x="63" y="72"/>
                  <a:pt x="63" y="72"/>
                </a:cubicBezTo>
                <a:cubicBezTo>
                  <a:pt x="12" y="22"/>
                  <a:pt x="12" y="22"/>
                  <a:pt x="12" y="22"/>
                </a:cubicBezTo>
                <a:lnTo>
                  <a:pt x="12" y="7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4" name="Freeform 770">
            <a:extLst>
              <a:ext uri="{FF2B5EF4-FFF2-40B4-BE49-F238E27FC236}">
                <a16:creationId xmlns:a16="http://schemas.microsoft.com/office/drawing/2014/main" id="{DEC046C4-29FE-C238-D9BD-5115E6933FF0}"/>
              </a:ext>
            </a:extLst>
          </p:cNvPr>
          <p:cNvSpPr>
            <a:spLocks/>
          </p:cNvSpPr>
          <p:nvPr/>
        </p:nvSpPr>
        <p:spPr bwMode="auto">
          <a:xfrm>
            <a:off x="10781960" y="1652597"/>
            <a:ext cx="310200" cy="396925"/>
          </a:xfrm>
          <a:custGeom>
            <a:avLst/>
            <a:gdLst>
              <a:gd name="T0" fmla="*/ 331 w 338"/>
              <a:gd name="T1" fmla="*/ 432 h 432"/>
              <a:gd name="T2" fmla="*/ 6 w 338"/>
              <a:gd name="T3" fmla="*/ 432 h 432"/>
              <a:gd name="T4" fmla="*/ 0 w 338"/>
              <a:gd name="T5" fmla="*/ 426 h 432"/>
              <a:gd name="T6" fmla="*/ 0 w 338"/>
              <a:gd name="T7" fmla="*/ 6 h 432"/>
              <a:gd name="T8" fmla="*/ 6 w 338"/>
              <a:gd name="T9" fmla="*/ 0 h 432"/>
              <a:gd name="T10" fmla="*/ 260 w 338"/>
              <a:gd name="T11" fmla="*/ 0 h 432"/>
              <a:gd name="T12" fmla="*/ 264 w 338"/>
              <a:gd name="T13" fmla="*/ 1 h 432"/>
              <a:gd name="T14" fmla="*/ 336 w 338"/>
              <a:gd name="T15" fmla="*/ 73 h 432"/>
              <a:gd name="T16" fmla="*/ 338 w 338"/>
              <a:gd name="T17" fmla="*/ 77 h 432"/>
              <a:gd name="T18" fmla="*/ 338 w 338"/>
              <a:gd name="T19" fmla="*/ 368 h 432"/>
              <a:gd name="T20" fmla="*/ 331 w 338"/>
              <a:gd name="T21" fmla="*/ 374 h 432"/>
              <a:gd name="T22" fmla="*/ 325 w 338"/>
              <a:gd name="T23" fmla="*/ 368 h 432"/>
              <a:gd name="T24" fmla="*/ 325 w 338"/>
              <a:gd name="T25" fmla="*/ 80 h 432"/>
              <a:gd name="T26" fmla="*/ 257 w 338"/>
              <a:gd name="T27" fmla="*/ 12 h 432"/>
              <a:gd name="T28" fmla="*/ 12 w 338"/>
              <a:gd name="T29" fmla="*/ 12 h 432"/>
              <a:gd name="T30" fmla="*/ 12 w 338"/>
              <a:gd name="T31" fmla="*/ 420 h 432"/>
              <a:gd name="T32" fmla="*/ 325 w 338"/>
              <a:gd name="T33" fmla="*/ 420 h 432"/>
              <a:gd name="T34" fmla="*/ 325 w 338"/>
              <a:gd name="T35" fmla="*/ 414 h 432"/>
              <a:gd name="T36" fmla="*/ 331 w 338"/>
              <a:gd name="T37" fmla="*/ 408 h 432"/>
              <a:gd name="T38" fmla="*/ 338 w 338"/>
              <a:gd name="T39" fmla="*/ 414 h 432"/>
              <a:gd name="T40" fmla="*/ 338 w 338"/>
              <a:gd name="T41" fmla="*/ 426 h 432"/>
              <a:gd name="T42" fmla="*/ 331 w 338"/>
              <a:gd name="T43" fmla="*/ 432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38" h="432">
                <a:moveTo>
                  <a:pt x="331" y="432"/>
                </a:moveTo>
                <a:cubicBezTo>
                  <a:pt x="6" y="432"/>
                  <a:pt x="6" y="432"/>
                  <a:pt x="6" y="432"/>
                </a:cubicBezTo>
                <a:cubicBezTo>
                  <a:pt x="3" y="432"/>
                  <a:pt x="0" y="430"/>
                  <a:pt x="0" y="426"/>
                </a:cubicBezTo>
                <a:cubicBezTo>
                  <a:pt x="0" y="6"/>
                  <a:pt x="0" y="6"/>
                  <a:pt x="0" y="6"/>
                </a:cubicBezTo>
                <a:cubicBezTo>
                  <a:pt x="0" y="2"/>
                  <a:pt x="3" y="0"/>
                  <a:pt x="6" y="0"/>
                </a:cubicBezTo>
                <a:cubicBezTo>
                  <a:pt x="260" y="0"/>
                  <a:pt x="260" y="0"/>
                  <a:pt x="260" y="0"/>
                </a:cubicBezTo>
                <a:cubicBezTo>
                  <a:pt x="262" y="0"/>
                  <a:pt x="263" y="0"/>
                  <a:pt x="264" y="1"/>
                </a:cubicBezTo>
                <a:cubicBezTo>
                  <a:pt x="336" y="73"/>
                  <a:pt x="336" y="73"/>
                  <a:pt x="336" y="73"/>
                </a:cubicBezTo>
                <a:cubicBezTo>
                  <a:pt x="337" y="74"/>
                  <a:pt x="338" y="76"/>
                  <a:pt x="338" y="77"/>
                </a:cubicBezTo>
                <a:cubicBezTo>
                  <a:pt x="338" y="368"/>
                  <a:pt x="338" y="368"/>
                  <a:pt x="338" y="368"/>
                </a:cubicBezTo>
                <a:cubicBezTo>
                  <a:pt x="338" y="371"/>
                  <a:pt x="335" y="374"/>
                  <a:pt x="331" y="374"/>
                </a:cubicBezTo>
                <a:cubicBezTo>
                  <a:pt x="328" y="374"/>
                  <a:pt x="325" y="371"/>
                  <a:pt x="325" y="368"/>
                </a:cubicBezTo>
                <a:cubicBezTo>
                  <a:pt x="325" y="80"/>
                  <a:pt x="325" y="80"/>
                  <a:pt x="325" y="80"/>
                </a:cubicBezTo>
                <a:cubicBezTo>
                  <a:pt x="257" y="12"/>
                  <a:pt x="257" y="12"/>
                  <a:pt x="257" y="12"/>
                </a:cubicBezTo>
                <a:cubicBezTo>
                  <a:pt x="12" y="12"/>
                  <a:pt x="12" y="12"/>
                  <a:pt x="12" y="12"/>
                </a:cubicBezTo>
                <a:cubicBezTo>
                  <a:pt x="12" y="420"/>
                  <a:pt x="12" y="420"/>
                  <a:pt x="12" y="420"/>
                </a:cubicBezTo>
                <a:cubicBezTo>
                  <a:pt x="325" y="420"/>
                  <a:pt x="325" y="420"/>
                  <a:pt x="325" y="420"/>
                </a:cubicBezTo>
                <a:cubicBezTo>
                  <a:pt x="325" y="414"/>
                  <a:pt x="325" y="414"/>
                  <a:pt x="325" y="414"/>
                </a:cubicBezTo>
                <a:cubicBezTo>
                  <a:pt x="325" y="410"/>
                  <a:pt x="328" y="408"/>
                  <a:pt x="331" y="408"/>
                </a:cubicBezTo>
                <a:cubicBezTo>
                  <a:pt x="335" y="408"/>
                  <a:pt x="338" y="410"/>
                  <a:pt x="338" y="414"/>
                </a:cubicBezTo>
                <a:cubicBezTo>
                  <a:pt x="338" y="426"/>
                  <a:pt x="338" y="426"/>
                  <a:pt x="338" y="426"/>
                </a:cubicBezTo>
                <a:cubicBezTo>
                  <a:pt x="338" y="430"/>
                  <a:pt x="335" y="432"/>
                  <a:pt x="331" y="4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5" name="Freeform 771">
            <a:extLst>
              <a:ext uri="{FF2B5EF4-FFF2-40B4-BE49-F238E27FC236}">
                <a16:creationId xmlns:a16="http://schemas.microsoft.com/office/drawing/2014/main" id="{04DA5F78-9FD1-2DA4-7498-6179EE5785CD}"/>
              </a:ext>
            </a:extLst>
          </p:cNvPr>
          <p:cNvSpPr>
            <a:spLocks noEditPoints="1"/>
          </p:cNvSpPr>
          <p:nvPr/>
        </p:nvSpPr>
        <p:spPr bwMode="auto">
          <a:xfrm>
            <a:off x="10825318" y="1752662"/>
            <a:ext cx="223479" cy="226816"/>
          </a:xfrm>
          <a:custGeom>
            <a:avLst/>
            <a:gdLst>
              <a:gd name="T0" fmla="*/ 121 w 242"/>
              <a:gd name="T1" fmla="*/ 243 h 243"/>
              <a:gd name="T2" fmla="*/ 0 w 242"/>
              <a:gd name="T3" fmla="*/ 122 h 243"/>
              <a:gd name="T4" fmla="*/ 121 w 242"/>
              <a:gd name="T5" fmla="*/ 0 h 243"/>
              <a:gd name="T6" fmla="*/ 242 w 242"/>
              <a:gd name="T7" fmla="*/ 122 h 243"/>
              <a:gd name="T8" fmla="*/ 121 w 242"/>
              <a:gd name="T9" fmla="*/ 243 h 243"/>
              <a:gd name="T10" fmla="*/ 121 w 242"/>
              <a:gd name="T11" fmla="*/ 13 h 243"/>
              <a:gd name="T12" fmla="*/ 12 w 242"/>
              <a:gd name="T13" fmla="*/ 122 h 243"/>
              <a:gd name="T14" fmla="*/ 121 w 242"/>
              <a:gd name="T15" fmla="*/ 231 h 243"/>
              <a:gd name="T16" fmla="*/ 230 w 242"/>
              <a:gd name="T17" fmla="*/ 122 h 243"/>
              <a:gd name="T18" fmla="*/ 121 w 242"/>
              <a:gd name="T19" fmla="*/ 13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2" h="243">
                <a:moveTo>
                  <a:pt x="121" y="243"/>
                </a:moveTo>
                <a:cubicBezTo>
                  <a:pt x="54" y="243"/>
                  <a:pt x="0" y="188"/>
                  <a:pt x="0" y="122"/>
                </a:cubicBezTo>
                <a:cubicBezTo>
                  <a:pt x="0" y="55"/>
                  <a:pt x="54" y="0"/>
                  <a:pt x="121" y="0"/>
                </a:cubicBezTo>
                <a:cubicBezTo>
                  <a:pt x="188" y="0"/>
                  <a:pt x="242" y="55"/>
                  <a:pt x="242" y="122"/>
                </a:cubicBezTo>
                <a:cubicBezTo>
                  <a:pt x="242" y="188"/>
                  <a:pt x="188" y="243"/>
                  <a:pt x="121" y="243"/>
                </a:cubicBezTo>
                <a:close/>
                <a:moveTo>
                  <a:pt x="121" y="13"/>
                </a:moveTo>
                <a:cubicBezTo>
                  <a:pt x="61" y="13"/>
                  <a:pt x="12" y="61"/>
                  <a:pt x="12" y="122"/>
                </a:cubicBezTo>
                <a:cubicBezTo>
                  <a:pt x="12" y="182"/>
                  <a:pt x="61" y="231"/>
                  <a:pt x="121" y="231"/>
                </a:cubicBezTo>
                <a:cubicBezTo>
                  <a:pt x="181" y="231"/>
                  <a:pt x="230" y="182"/>
                  <a:pt x="230" y="122"/>
                </a:cubicBezTo>
                <a:cubicBezTo>
                  <a:pt x="230" y="61"/>
                  <a:pt x="181" y="13"/>
                  <a:pt x="121" y="1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6" name="Freeform 772">
            <a:extLst>
              <a:ext uri="{FF2B5EF4-FFF2-40B4-BE49-F238E27FC236}">
                <a16:creationId xmlns:a16="http://schemas.microsoft.com/office/drawing/2014/main" id="{545CB1CC-2363-D93D-79CF-5CAAE1CD6AC5}"/>
              </a:ext>
            </a:extLst>
          </p:cNvPr>
          <p:cNvSpPr>
            <a:spLocks/>
          </p:cNvSpPr>
          <p:nvPr/>
        </p:nvSpPr>
        <p:spPr bwMode="auto">
          <a:xfrm>
            <a:off x="10995430" y="1926110"/>
            <a:ext cx="120079" cy="113406"/>
          </a:xfrm>
          <a:custGeom>
            <a:avLst/>
            <a:gdLst>
              <a:gd name="T0" fmla="*/ 103 w 129"/>
              <a:gd name="T1" fmla="*/ 123 h 123"/>
              <a:gd name="T2" fmla="*/ 87 w 129"/>
              <a:gd name="T3" fmla="*/ 116 h 123"/>
              <a:gd name="T4" fmla="*/ 2 w 129"/>
              <a:gd name="T5" fmla="*/ 32 h 123"/>
              <a:gd name="T6" fmla="*/ 2 w 129"/>
              <a:gd name="T7" fmla="*/ 23 h 123"/>
              <a:gd name="T8" fmla="*/ 11 w 129"/>
              <a:gd name="T9" fmla="*/ 23 h 123"/>
              <a:gd name="T10" fmla="*/ 95 w 129"/>
              <a:gd name="T11" fmla="*/ 107 h 123"/>
              <a:gd name="T12" fmla="*/ 111 w 129"/>
              <a:gd name="T13" fmla="*/ 107 h 123"/>
              <a:gd name="T14" fmla="*/ 111 w 129"/>
              <a:gd name="T15" fmla="*/ 92 h 123"/>
              <a:gd name="T16" fmla="*/ 30 w 129"/>
              <a:gd name="T17" fmla="*/ 11 h 123"/>
              <a:gd name="T18" fmla="*/ 30 w 129"/>
              <a:gd name="T19" fmla="*/ 2 h 123"/>
              <a:gd name="T20" fmla="*/ 39 w 129"/>
              <a:gd name="T21" fmla="*/ 2 h 123"/>
              <a:gd name="T22" fmla="*/ 120 w 129"/>
              <a:gd name="T23" fmla="*/ 83 h 123"/>
              <a:gd name="T24" fmla="*/ 120 w 129"/>
              <a:gd name="T25" fmla="*/ 116 h 123"/>
              <a:gd name="T26" fmla="*/ 103 w 129"/>
              <a:gd name="T2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29" h="123">
                <a:moveTo>
                  <a:pt x="103" y="123"/>
                </a:moveTo>
                <a:cubicBezTo>
                  <a:pt x="97" y="123"/>
                  <a:pt x="91" y="120"/>
                  <a:pt x="87" y="116"/>
                </a:cubicBezTo>
                <a:cubicBezTo>
                  <a:pt x="2" y="32"/>
                  <a:pt x="2" y="32"/>
                  <a:pt x="2" y="32"/>
                </a:cubicBezTo>
                <a:cubicBezTo>
                  <a:pt x="0" y="29"/>
                  <a:pt x="0" y="25"/>
                  <a:pt x="2" y="23"/>
                </a:cubicBezTo>
                <a:cubicBezTo>
                  <a:pt x="4" y="21"/>
                  <a:pt x="8" y="21"/>
                  <a:pt x="11" y="23"/>
                </a:cubicBezTo>
                <a:cubicBezTo>
                  <a:pt x="95" y="107"/>
                  <a:pt x="95" y="107"/>
                  <a:pt x="95" y="107"/>
                </a:cubicBezTo>
                <a:cubicBezTo>
                  <a:pt x="99" y="112"/>
                  <a:pt x="107" y="112"/>
                  <a:pt x="111" y="107"/>
                </a:cubicBezTo>
                <a:cubicBezTo>
                  <a:pt x="115" y="103"/>
                  <a:pt x="115" y="96"/>
                  <a:pt x="111" y="92"/>
                </a:cubicBezTo>
                <a:cubicBezTo>
                  <a:pt x="30" y="11"/>
                  <a:pt x="30" y="11"/>
                  <a:pt x="30" y="11"/>
                </a:cubicBezTo>
                <a:cubicBezTo>
                  <a:pt x="28" y="8"/>
                  <a:pt x="28" y="5"/>
                  <a:pt x="30" y="2"/>
                </a:cubicBezTo>
                <a:cubicBezTo>
                  <a:pt x="33" y="0"/>
                  <a:pt x="37" y="0"/>
                  <a:pt x="39" y="2"/>
                </a:cubicBezTo>
                <a:cubicBezTo>
                  <a:pt x="120" y="83"/>
                  <a:pt x="120" y="83"/>
                  <a:pt x="120" y="83"/>
                </a:cubicBezTo>
                <a:cubicBezTo>
                  <a:pt x="129" y="92"/>
                  <a:pt x="129" y="107"/>
                  <a:pt x="120" y="116"/>
                </a:cubicBezTo>
                <a:cubicBezTo>
                  <a:pt x="115" y="120"/>
                  <a:pt x="109" y="123"/>
                  <a:pt x="103" y="12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7" name="Freeform 773">
            <a:extLst>
              <a:ext uri="{FF2B5EF4-FFF2-40B4-BE49-F238E27FC236}">
                <a16:creationId xmlns:a16="http://schemas.microsoft.com/office/drawing/2014/main" id="{39CB17AF-83E8-1D13-172E-7ABB345B5AE6}"/>
              </a:ext>
            </a:extLst>
          </p:cNvPr>
          <p:cNvSpPr>
            <a:spLocks/>
          </p:cNvSpPr>
          <p:nvPr/>
        </p:nvSpPr>
        <p:spPr bwMode="auto">
          <a:xfrm>
            <a:off x="10865343" y="1892752"/>
            <a:ext cx="146762" cy="13343"/>
          </a:xfrm>
          <a:custGeom>
            <a:avLst/>
            <a:gdLst>
              <a:gd name="T0" fmla="*/ 153 w 159"/>
              <a:gd name="T1" fmla="*/ 12 h 12"/>
              <a:gd name="T2" fmla="*/ 6 w 159"/>
              <a:gd name="T3" fmla="*/ 12 h 12"/>
              <a:gd name="T4" fmla="*/ 0 w 159"/>
              <a:gd name="T5" fmla="*/ 6 h 12"/>
              <a:gd name="T6" fmla="*/ 6 w 159"/>
              <a:gd name="T7" fmla="*/ 0 h 12"/>
              <a:gd name="T8" fmla="*/ 153 w 159"/>
              <a:gd name="T9" fmla="*/ 0 h 12"/>
              <a:gd name="T10" fmla="*/ 159 w 159"/>
              <a:gd name="T11" fmla="*/ 6 h 12"/>
              <a:gd name="T12" fmla="*/ 153 w 159"/>
              <a:gd name="T1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9" h="12">
                <a:moveTo>
                  <a:pt x="153" y="12"/>
                </a:moveTo>
                <a:cubicBezTo>
                  <a:pt x="6" y="12"/>
                  <a:pt x="6" y="12"/>
                  <a:pt x="6" y="12"/>
                </a:cubicBezTo>
                <a:cubicBezTo>
                  <a:pt x="3" y="12"/>
                  <a:pt x="0" y="9"/>
                  <a:pt x="0" y="6"/>
                </a:cubicBezTo>
                <a:cubicBezTo>
                  <a:pt x="0" y="2"/>
                  <a:pt x="3" y="0"/>
                  <a:pt x="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56" y="0"/>
                  <a:pt x="159" y="2"/>
                  <a:pt x="159" y="6"/>
                </a:cubicBezTo>
                <a:cubicBezTo>
                  <a:pt x="159" y="9"/>
                  <a:pt x="156" y="12"/>
                  <a:pt x="153" y="1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8" name="Freeform 774">
            <a:extLst>
              <a:ext uri="{FF2B5EF4-FFF2-40B4-BE49-F238E27FC236}">
                <a16:creationId xmlns:a16="http://schemas.microsoft.com/office/drawing/2014/main" id="{2E8D6F42-F240-77BB-23E2-23CE5D7433B2}"/>
              </a:ext>
            </a:extLst>
          </p:cNvPr>
          <p:cNvSpPr>
            <a:spLocks noEditPoints="1"/>
          </p:cNvSpPr>
          <p:nvPr/>
        </p:nvSpPr>
        <p:spPr bwMode="auto">
          <a:xfrm>
            <a:off x="10878687" y="1862737"/>
            <a:ext cx="46697" cy="43361"/>
          </a:xfrm>
          <a:custGeom>
            <a:avLst/>
            <a:gdLst>
              <a:gd name="T0" fmla="*/ 46 w 52"/>
              <a:gd name="T1" fmla="*/ 47 h 47"/>
              <a:gd name="T2" fmla="*/ 7 w 52"/>
              <a:gd name="T3" fmla="*/ 47 h 47"/>
              <a:gd name="T4" fmla="*/ 0 w 52"/>
              <a:gd name="T5" fmla="*/ 41 h 47"/>
              <a:gd name="T6" fmla="*/ 0 w 52"/>
              <a:gd name="T7" fmla="*/ 6 h 47"/>
              <a:gd name="T8" fmla="*/ 7 w 52"/>
              <a:gd name="T9" fmla="*/ 0 h 47"/>
              <a:gd name="T10" fmla="*/ 46 w 52"/>
              <a:gd name="T11" fmla="*/ 0 h 47"/>
              <a:gd name="T12" fmla="*/ 52 w 52"/>
              <a:gd name="T13" fmla="*/ 6 h 47"/>
              <a:gd name="T14" fmla="*/ 52 w 52"/>
              <a:gd name="T15" fmla="*/ 41 h 47"/>
              <a:gd name="T16" fmla="*/ 46 w 52"/>
              <a:gd name="T17" fmla="*/ 47 h 47"/>
              <a:gd name="T18" fmla="*/ 13 w 52"/>
              <a:gd name="T19" fmla="*/ 35 h 47"/>
              <a:gd name="T20" fmla="*/ 40 w 52"/>
              <a:gd name="T21" fmla="*/ 35 h 47"/>
              <a:gd name="T22" fmla="*/ 40 w 52"/>
              <a:gd name="T23" fmla="*/ 12 h 47"/>
              <a:gd name="T24" fmla="*/ 13 w 52"/>
              <a:gd name="T25" fmla="*/ 12 h 47"/>
              <a:gd name="T26" fmla="*/ 13 w 52"/>
              <a:gd name="T27" fmla="*/ 35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2" h="47">
                <a:moveTo>
                  <a:pt x="46" y="47"/>
                </a:moveTo>
                <a:cubicBezTo>
                  <a:pt x="7" y="47"/>
                  <a:pt x="7" y="47"/>
                  <a:pt x="7" y="47"/>
                </a:cubicBezTo>
                <a:cubicBezTo>
                  <a:pt x="3" y="47"/>
                  <a:pt x="0" y="44"/>
                  <a:pt x="0" y="41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7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49" y="0"/>
                  <a:pt x="52" y="3"/>
                  <a:pt x="52" y="6"/>
                </a:cubicBezTo>
                <a:cubicBezTo>
                  <a:pt x="52" y="41"/>
                  <a:pt x="52" y="41"/>
                  <a:pt x="52" y="41"/>
                </a:cubicBezTo>
                <a:cubicBezTo>
                  <a:pt x="52" y="44"/>
                  <a:pt x="49" y="47"/>
                  <a:pt x="46" y="47"/>
                </a:cubicBezTo>
                <a:close/>
                <a:moveTo>
                  <a:pt x="13" y="35"/>
                </a:moveTo>
                <a:cubicBezTo>
                  <a:pt x="40" y="35"/>
                  <a:pt x="40" y="35"/>
                  <a:pt x="40" y="35"/>
                </a:cubicBezTo>
                <a:cubicBezTo>
                  <a:pt x="40" y="12"/>
                  <a:pt x="40" y="12"/>
                  <a:pt x="40" y="12"/>
                </a:cubicBezTo>
                <a:cubicBezTo>
                  <a:pt x="13" y="12"/>
                  <a:pt x="13" y="12"/>
                  <a:pt x="13" y="12"/>
                </a:cubicBezTo>
                <a:lnTo>
                  <a:pt x="13" y="3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9" name="Freeform 775">
            <a:extLst>
              <a:ext uri="{FF2B5EF4-FFF2-40B4-BE49-F238E27FC236}">
                <a16:creationId xmlns:a16="http://schemas.microsoft.com/office/drawing/2014/main" id="{2CBD716E-596D-55D7-C110-9DF09E65156A}"/>
              </a:ext>
            </a:extLst>
          </p:cNvPr>
          <p:cNvSpPr>
            <a:spLocks noEditPoints="1"/>
          </p:cNvSpPr>
          <p:nvPr/>
        </p:nvSpPr>
        <p:spPr bwMode="auto">
          <a:xfrm>
            <a:off x="10915378" y="1839387"/>
            <a:ext cx="46697" cy="66711"/>
          </a:xfrm>
          <a:custGeom>
            <a:avLst/>
            <a:gdLst>
              <a:gd name="T0" fmla="*/ 45 w 51"/>
              <a:gd name="T1" fmla="*/ 71 h 71"/>
              <a:gd name="T2" fmla="*/ 6 w 51"/>
              <a:gd name="T3" fmla="*/ 71 h 71"/>
              <a:gd name="T4" fmla="*/ 0 w 51"/>
              <a:gd name="T5" fmla="*/ 65 h 71"/>
              <a:gd name="T6" fmla="*/ 0 w 51"/>
              <a:gd name="T7" fmla="*/ 6 h 71"/>
              <a:gd name="T8" fmla="*/ 6 w 51"/>
              <a:gd name="T9" fmla="*/ 0 h 71"/>
              <a:gd name="T10" fmla="*/ 45 w 51"/>
              <a:gd name="T11" fmla="*/ 0 h 71"/>
              <a:gd name="T12" fmla="*/ 51 w 51"/>
              <a:gd name="T13" fmla="*/ 6 h 71"/>
              <a:gd name="T14" fmla="*/ 51 w 51"/>
              <a:gd name="T15" fmla="*/ 65 h 71"/>
              <a:gd name="T16" fmla="*/ 45 w 51"/>
              <a:gd name="T17" fmla="*/ 71 h 71"/>
              <a:gd name="T18" fmla="*/ 12 w 51"/>
              <a:gd name="T19" fmla="*/ 59 h 71"/>
              <a:gd name="T20" fmla="*/ 39 w 51"/>
              <a:gd name="T21" fmla="*/ 59 h 71"/>
              <a:gd name="T22" fmla="*/ 39 w 51"/>
              <a:gd name="T23" fmla="*/ 13 h 71"/>
              <a:gd name="T24" fmla="*/ 12 w 51"/>
              <a:gd name="T25" fmla="*/ 13 h 71"/>
              <a:gd name="T26" fmla="*/ 12 w 51"/>
              <a:gd name="T27" fmla="*/ 59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1" h="71">
                <a:moveTo>
                  <a:pt x="45" y="71"/>
                </a:moveTo>
                <a:cubicBezTo>
                  <a:pt x="6" y="71"/>
                  <a:pt x="6" y="71"/>
                  <a:pt x="6" y="71"/>
                </a:cubicBezTo>
                <a:cubicBezTo>
                  <a:pt x="2" y="71"/>
                  <a:pt x="0" y="68"/>
                  <a:pt x="0" y="65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8" y="0"/>
                  <a:pt x="51" y="3"/>
                  <a:pt x="51" y="6"/>
                </a:cubicBezTo>
                <a:cubicBezTo>
                  <a:pt x="51" y="65"/>
                  <a:pt x="51" y="65"/>
                  <a:pt x="51" y="65"/>
                </a:cubicBezTo>
                <a:cubicBezTo>
                  <a:pt x="51" y="68"/>
                  <a:pt x="48" y="71"/>
                  <a:pt x="45" y="71"/>
                </a:cubicBezTo>
                <a:close/>
                <a:moveTo>
                  <a:pt x="12" y="59"/>
                </a:moveTo>
                <a:cubicBezTo>
                  <a:pt x="39" y="59"/>
                  <a:pt x="39" y="59"/>
                  <a:pt x="39" y="59"/>
                </a:cubicBezTo>
                <a:cubicBezTo>
                  <a:pt x="39" y="13"/>
                  <a:pt x="39" y="13"/>
                  <a:pt x="39" y="13"/>
                </a:cubicBezTo>
                <a:cubicBezTo>
                  <a:pt x="12" y="13"/>
                  <a:pt x="12" y="13"/>
                  <a:pt x="12" y="13"/>
                </a:cubicBezTo>
                <a:lnTo>
                  <a:pt x="12" y="5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40" name="Freeform 776">
            <a:extLst>
              <a:ext uri="{FF2B5EF4-FFF2-40B4-BE49-F238E27FC236}">
                <a16:creationId xmlns:a16="http://schemas.microsoft.com/office/drawing/2014/main" id="{536A0A2F-5F32-15B0-6721-A43517ECC71A}"/>
              </a:ext>
            </a:extLst>
          </p:cNvPr>
          <p:cNvSpPr>
            <a:spLocks noEditPoints="1"/>
          </p:cNvSpPr>
          <p:nvPr/>
        </p:nvSpPr>
        <p:spPr bwMode="auto">
          <a:xfrm>
            <a:off x="10952066" y="1819373"/>
            <a:ext cx="46697" cy="86724"/>
          </a:xfrm>
          <a:custGeom>
            <a:avLst/>
            <a:gdLst>
              <a:gd name="T0" fmla="*/ 45 w 51"/>
              <a:gd name="T1" fmla="*/ 94 h 94"/>
              <a:gd name="T2" fmla="*/ 6 w 51"/>
              <a:gd name="T3" fmla="*/ 94 h 94"/>
              <a:gd name="T4" fmla="*/ 0 w 51"/>
              <a:gd name="T5" fmla="*/ 88 h 94"/>
              <a:gd name="T6" fmla="*/ 0 w 51"/>
              <a:gd name="T7" fmla="*/ 6 h 94"/>
              <a:gd name="T8" fmla="*/ 6 w 51"/>
              <a:gd name="T9" fmla="*/ 0 h 94"/>
              <a:gd name="T10" fmla="*/ 45 w 51"/>
              <a:gd name="T11" fmla="*/ 0 h 94"/>
              <a:gd name="T12" fmla="*/ 51 w 51"/>
              <a:gd name="T13" fmla="*/ 6 h 94"/>
              <a:gd name="T14" fmla="*/ 51 w 51"/>
              <a:gd name="T15" fmla="*/ 88 h 94"/>
              <a:gd name="T16" fmla="*/ 45 w 51"/>
              <a:gd name="T17" fmla="*/ 94 h 94"/>
              <a:gd name="T18" fmla="*/ 12 w 51"/>
              <a:gd name="T19" fmla="*/ 82 h 94"/>
              <a:gd name="T20" fmla="*/ 39 w 51"/>
              <a:gd name="T21" fmla="*/ 82 h 94"/>
              <a:gd name="T22" fmla="*/ 39 w 51"/>
              <a:gd name="T23" fmla="*/ 12 h 94"/>
              <a:gd name="T24" fmla="*/ 12 w 51"/>
              <a:gd name="T25" fmla="*/ 12 h 94"/>
              <a:gd name="T26" fmla="*/ 12 w 51"/>
              <a:gd name="T27" fmla="*/ 82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1" h="94">
                <a:moveTo>
                  <a:pt x="45" y="94"/>
                </a:moveTo>
                <a:cubicBezTo>
                  <a:pt x="6" y="94"/>
                  <a:pt x="6" y="94"/>
                  <a:pt x="6" y="94"/>
                </a:cubicBezTo>
                <a:cubicBezTo>
                  <a:pt x="2" y="94"/>
                  <a:pt x="0" y="91"/>
                  <a:pt x="0" y="88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8" y="0"/>
                  <a:pt x="51" y="3"/>
                  <a:pt x="51" y="6"/>
                </a:cubicBezTo>
                <a:cubicBezTo>
                  <a:pt x="51" y="88"/>
                  <a:pt x="51" y="88"/>
                  <a:pt x="51" y="88"/>
                </a:cubicBezTo>
                <a:cubicBezTo>
                  <a:pt x="51" y="91"/>
                  <a:pt x="48" y="94"/>
                  <a:pt x="45" y="94"/>
                </a:cubicBezTo>
                <a:close/>
                <a:moveTo>
                  <a:pt x="12" y="82"/>
                </a:moveTo>
                <a:cubicBezTo>
                  <a:pt x="39" y="82"/>
                  <a:pt x="39" y="82"/>
                  <a:pt x="39" y="82"/>
                </a:cubicBezTo>
                <a:cubicBezTo>
                  <a:pt x="39" y="12"/>
                  <a:pt x="39" y="12"/>
                  <a:pt x="39" y="12"/>
                </a:cubicBezTo>
                <a:cubicBezTo>
                  <a:pt x="12" y="12"/>
                  <a:pt x="12" y="12"/>
                  <a:pt x="12" y="12"/>
                </a:cubicBezTo>
                <a:lnTo>
                  <a:pt x="12" y="8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</p:spTree>
    <p:extLst>
      <p:ext uri="{BB962C8B-B14F-4D97-AF65-F5344CB8AC3E}">
        <p14:creationId xmlns:p14="http://schemas.microsoft.com/office/powerpoint/2010/main" val="2785087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25</TotalTime>
  <Words>11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Doughnu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54</cp:revision>
  <dcterms:created xsi:type="dcterms:W3CDTF">2021-03-31T02:49:57Z</dcterms:created>
  <dcterms:modified xsi:type="dcterms:W3CDTF">2025-10-15T03:52:10Z</dcterms:modified>
  <cp:category/>
</cp:coreProperties>
</file>